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27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8"/>
  </p:notesMasterIdLst>
  <p:sldIdLst>
    <p:sldId id="1722" r:id="rId4"/>
    <p:sldId id="4642" r:id="rId5"/>
    <p:sldId id="1731" r:id="rId6"/>
    <p:sldId id="1635" r:id="rId7"/>
    <p:sldId id="2260" r:id="rId8"/>
    <p:sldId id="4623" r:id="rId9"/>
    <p:sldId id="4625" r:id="rId10"/>
    <p:sldId id="4630" r:id="rId11"/>
    <p:sldId id="4631" r:id="rId12"/>
    <p:sldId id="1726" r:id="rId13"/>
    <p:sldId id="4627" r:id="rId14"/>
    <p:sldId id="1728" r:id="rId15"/>
    <p:sldId id="4626" r:id="rId16"/>
    <p:sldId id="2262" r:id="rId17"/>
    <p:sldId id="2263" r:id="rId18"/>
    <p:sldId id="2264" r:id="rId19"/>
    <p:sldId id="2272" r:id="rId20"/>
    <p:sldId id="2274" r:id="rId21"/>
    <p:sldId id="2276" r:id="rId22"/>
    <p:sldId id="4643" r:id="rId23"/>
    <p:sldId id="1482" r:id="rId24"/>
    <p:sldId id="1091" r:id="rId25"/>
    <p:sldId id="4635" r:id="rId26"/>
    <p:sldId id="4639" r:id="rId27"/>
    <p:sldId id="4636" r:id="rId28"/>
    <p:sldId id="4640" r:id="rId29"/>
    <p:sldId id="4637" r:id="rId30"/>
    <p:sldId id="4641" r:id="rId31"/>
    <p:sldId id="4638" r:id="rId32"/>
    <p:sldId id="1171" r:id="rId33"/>
    <p:sldId id="1483" r:id="rId34"/>
    <p:sldId id="2388" r:id="rId35"/>
    <p:sldId id="4573" r:id="rId36"/>
    <p:sldId id="4537" r:id="rId37"/>
    <p:sldId id="4574" r:id="rId38"/>
    <p:sldId id="4575" r:id="rId39"/>
    <p:sldId id="4576" r:id="rId40"/>
    <p:sldId id="4577" r:id="rId41"/>
    <p:sldId id="4578" r:id="rId42"/>
    <p:sldId id="4579" r:id="rId43"/>
    <p:sldId id="4589" r:id="rId44"/>
    <p:sldId id="4632" r:id="rId45"/>
    <p:sldId id="4633" r:id="rId46"/>
    <p:sldId id="4634" r:id="rId47"/>
  </p:sldIdLst>
  <p:sldSz cx="12192000" cy="6858000"/>
  <p:notesSz cx="6858000" cy="9144000"/>
  <p:embeddedFontLst>
    <p:embeddedFont>
      <p:font typeface="Calibri" panose="020F0502020204030204" pitchFamily="34" charset="0"/>
      <p:regular r:id="rId49"/>
      <p:bold r:id="rId50"/>
      <p:italic r:id="rId51"/>
      <p:boldItalic r:id="rId52"/>
    </p:embeddedFont>
    <p:embeddedFont>
      <p:font typeface="Calibri Light" panose="020F0302020204030204" pitchFamily="34" charset="0"/>
      <p:regular r:id="rId53"/>
      <p:italic r:id="rId54"/>
    </p:embeddedFont>
  </p:embeddedFontLst>
  <p:custDataLst>
    <p:tags r:id="rId5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FF00FF"/>
    <a:srgbClr val="000000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44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49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font" Target="fonts/font2.fntdata"/><Relationship Id="rId55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font" Target="fonts/font5.fntdata"/><Relationship Id="rId58" Type="http://schemas.openxmlformats.org/officeDocument/2006/relationships/theme" Target="theme/theme1.xml"/><Relationship Id="rId5" Type="http://schemas.openxmlformats.org/officeDocument/2006/relationships/slide" Target="slides/slide2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notesMaster" Target="notesMasters/notesMaster1.xml"/><Relationship Id="rId56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font" Target="fonts/font3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font" Target="fonts/font1.fntdata"/><Relationship Id="rId57" Type="http://schemas.openxmlformats.org/officeDocument/2006/relationships/viewProps" Target="viewProp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font" Target="fonts/font4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F$1:$LW$1</c:f>
              <c:strCache>
                <c:ptCount val="330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</c:strCache>
            </c:strRef>
          </c:cat>
          <c:val>
            <c:numRef>
              <c:f>List1!$F$2:$LW$2</c:f>
              <c:numCache>
                <c:formatCode>General</c:formatCode>
                <c:ptCount val="330"/>
                <c:pt idx="3">
                  <c:v>1051</c:v>
                </c:pt>
                <c:pt idx="4">
                  <c:v>2946</c:v>
                </c:pt>
                <c:pt idx="5">
                  <c:v>5610</c:v>
                </c:pt>
                <c:pt idx="6">
                  <c:v>8313</c:v>
                </c:pt>
                <c:pt idx="7">
                  <c:v>9203</c:v>
                </c:pt>
                <c:pt idx="8">
                  <c:v>9440</c:v>
                </c:pt>
                <c:pt idx="9">
                  <c:v>10603</c:v>
                </c:pt>
                <c:pt idx="10">
                  <c:v>11444</c:v>
                </c:pt>
                <c:pt idx="11">
                  <c:v>14620</c:v>
                </c:pt>
                <c:pt idx="12">
                  <c:v>18542</c:v>
                </c:pt>
                <c:pt idx="13">
                  <c:v>23466</c:v>
                </c:pt>
                <c:pt idx="14">
                  <c:v>29297</c:v>
                </c:pt>
                <c:pt idx="15">
                  <c:v>36086</c:v>
                </c:pt>
                <c:pt idx="16">
                  <c:v>37248</c:v>
                </c:pt>
                <c:pt idx="17">
                  <c:v>38201</c:v>
                </c:pt>
                <c:pt idx="18">
                  <c:v>44620</c:v>
                </c:pt>
                <c:pt idx="19">
                  <c:v>52053</c:v>
                </c:pt>
                <c:pt idx="20">
                  <c:v>58657</c:v>
                </c:pt>
                <c:pt idx="21">
                  <c:v>65637</c:v>
                </c:pt>
                <c:pt idx="22">
                  <c:v>71840</c:v>
                </c:pt>
                <c:pt idx="23">
                  <c:v>72775</c:v>
                </c:pt>
                <c:pt idx="24">
                  <c:v>73324</c:v>
                </c:pt>
                <c:pt idx="25">
                  <c:v>78016</c:v>
                </c:pt>
                <c:pt idx="26">
                  <c:v>81830</c:v>
                </c:pt>
                <c:pt idx="27">
                  <c:v>85544</c:v>
                </c:pt>
                <c:pt idx="28">
                  <c:v>88938</c:v>
                </c:pt>
                <c:pt idx="29">
                  <c:v>91828</c:v>
                </c:pt>
                <c:pt idx="30">
                  <c:v>92219</c:v>
                </c:pt>
                <c:pt idx="31">
                  <c:v>92454</c:v>
                </c:pt>
                <c:pt idx="32">
                  <c:v>94057</c:v>
                </c:pt>
                <c:pt idx="33">
                  <c:v>95825</c:v>
                </c:pt>
                <c:pt idx="34">
                  <c:v>97275</c:v>
                </c:pt>
                <c:pt idx="35">
                  <c:v>98661</c:v>
                </c:pt>
                <c:pt idx="36">
                  <c:v>99939</c:v>
                </c:pt>
                <c:pt idx="37">
                  <c:v>100011</c:v>
                </c:pt>
                <c:pt idx="38">
                  <c:v>100082</c:v>
                </c:pt>
                <c:pt idx="39">
                  <c:v>100974</c:v>
                </c:pt>
                <c:pt idx="40">
                  <c:v>101838</c:v>
                </c:pt>
                <c:pt idx="41">
                  <c:v>102654</c:v>
                </c:pt>
                <c:pt idx="42">
                  <c:v>103362</c:v>
                </c:pt>
                <c:pt idx="43">
                  <c:v>104289</c:v>
                </c:pt>
                <c:pt idx="44">
                  <c:v>104339</c:v>
                </c:pt>
                <c:pt idx="45">
                  <c:v>104389</c:v>
                </c:pt>
                <c:pt idx="46">
                  <c:v>105030</c:v>
                </c:pt>
                <c:pt idx="47">
                  <c:v>105684</c:v>
                </c:pt>
                <c:pt idx="48">
                  <c:v>106549</c:v>
                </c:pt>
                <c:pt idx="49">
                  <c:v>107602</c:v>
                </c:pt>
                <c:pt idx="50">
                  <c:v>108802</c:v>
                </c:pt>
                <c:pt idx="51">
                  <c:v>109184</c:v>
                </c:pt>
                <c:pt idx="52">
                  <c:v>109369</c:v>
                </c:pt>
                <c:pt idx="53">
                  <c:v>110695</c:v>
                </c:pt>
                <c:pt idx="54">
                  <c:v>111989</c:v>
                </c:pt>
                <c:pt idx="55">
                  <c:v>113365</c:v>
                </c:pt>
                <c:pt idx="56">
                  <c:v>114932</c:v>
                </c:pt>
                <c:pt idx="57">
                  <c:v>116786</c:v>
                </c:pt>
                <c:pt idx="58">
                  <c:v>117245</c:v>
                </c:pt>
                <c:pt idx="59">
                  <c:v>117406</c:v>
                </c:pt>
                <c:pt idx="60">
                  <c:v>118997</c:v>
                </c:pt>
                <c:pt idx="61">
                  <c:v>121290</c:v>
                </c:pt>
                <c:pt idx="62">
                  <c:v>123791</c:v>
                </c:pt>
                <c:pt idx="63">
                  <c:v>126823</c:v>
                </c:pt>
                <c:pt idx="64">
                  <c:v>129432</c:v>
                </c:pt>
                <c:pt idx="65">
                  <c:v>129740</c:v>
                </c:pt>
                <c:pt idx="66">
                  <c:v>129958</c:v>
                </c:pt>
                <c:pt idx="67">
                  <c:v>132507</c:v>
                </c:pt>
                <c:pt idx="68">
                  <c:v>135268</c:v>
                </c:pt>
                <c:pt idx="69">
                  <c:v>137932</c:v>
                </c:pt>
                <c:pt idx="70">
                  <c:v>140387</c:v>
                </c:pt>
                <c:pt idx="71">
                  <c:v>143352</c:v>
                </c:pt>
                <c:pt idx="72">
                  <c:v>144055</c:v>
                </c:pt>
                <c:pt idx="73">
                  <c:v>144565</c:v>
                </c:pt>
                <c:pt idx="74">
                  <c:v>146513</c:v>
                </c:pt>
                <c:pt idx="75">
                  <c:v>148658</c:v>
                </c:pt>
                <c:pt idx="76">
                  <c:v>150904</c:v>
                </c:pt>
                <c:pt idx="77">
                  <c:v>153904</c:v>
                </c:pt>
                <c:pt idx="78">
                  <c:v>156517</c:v>
                </c:pt>
                <c:pt idx="79">
                  <c:v>157175</c:v>
                </c:pt>
                <c:pt idx="80">
                  <c:v>157743</c:v>
                </c:pt>
                <c:pt idx="81">
                  <c:v>159328</c:v>
                </c:pt>
                <c:pt idx="82">
                  <c:v>161659</c:v>
                </c:pt>
                <c:pt idx="83">
                  <c:v>163977</c:v>
                </c:pt>
                <c:pt idx="84">
                  <c:v>166004</c:v>
                </c:pt>
                <c:pt idx="85">
                  <c:v>168264</c:v>
                </c:pt>
                <c:pt idx="86">
                  <c:v>169140</c:v>
                </c:pt>
                <c:pt idx="87">
                  <c:v>169587</c:v>
                </c:pt>
                <c:pt idx="88">
                  <c:v>170740</c:v>
                </c:pt>
                <c:pt idx="89">
                  <c:v>171977</c:v>
                </c:pt>
                <c:pt idx="90">
                  <c:v>173043</c:v>
                </c:pt>
                <c:pt idx="91">
                  <c:v>174340</c:v>
                </c:pt>
                <c:pt idx="92">
                  <c:v>175714</c:v>
                </c:pt>
                <c:pt idx="93">
                  <c:v>176088</c:v>
                </c:pt>
                <c:pt idx="94">
                  <c:v>176431</c:v>
                </c:pt>
                <c:pt idx="95">
                  <c:v>177214</c:v>
                </c:pt>
                <c:pt idx="96">
                  <c:v>178243</c:v>
                </c:pt>
                <c:pt idx="97">
                  <c:v>179369</c:v>
                </c:pt>
                <c:pt idx="98">
                  <c:v>180471</c:v>
                </c:pt>
                <c:pt idx="99">
                  <c:v>180740</c:v>
                </c:pt>
                <c:pt idx="100">
                  <c:v>180860</c:v>
                </c:pt>
                <c:pt idx="101">
                  <c:v>180976</c:v>
                </c:pt>
                <c:pt idx="102">
                  <c:v>181047</c:v>
                </c:pt>
                <c:pt idx="103">
                  <c:v>181613</c:v>
                </c:pt>
                <c:pt idx="104">
                  <c:v>182285</c:v>
                </c:pt>
                <c:pt idx="105">
                  <c:v>183529</c:v>
                </c:pt>
                <c:pt idx="106">
                  <c:v>184802</c:v>
                </c:pt>
                <c:pt idx="107">
                  <c:v>185179</c:v>
                </c:pt>
                <c:pt idx="108">
                  <c:v>185427</c:v>
                </c:pt>
                <c:pt idx="109">
                  <c:v>186363</c:v>
                </c:pt>
                <c:pt idx="110">
                  <c:v>187174</c:v>
                </c:pt>
                <c:pt idx="111">
                  <c:v>188116</c:v>
                </c:pt>
                <c:pt idx="112">
                  <c:v>189480</c:v>
                </c:pt>
                <c:pt idx="113">
                  <c:v>191027</c:v>
                </c:pt>
                <c:pt idx="114">
                  <c:v>191447</c:v>
                </c:pt>
                <c:pt idx="115">
                  <c:v>191887</c:v>
                </c:pt>
                <c:pt idx="116">
                  <c:v>192989</c:v>
                </c:pt>
                <c:pt idx="117">
                  <c:v>194037</c:v>
                </c:pt>
                <c:pt idx="118">
                  <c:v>195327</c:v>
                </c:pt>
                <c:pt idx="119">
                  <c:v>196797</c:v>
                </c:pt>
                <c:pt idx="120">
                  <c:v>198313</c:v>
                </c:pt>
                <c:pt idx="121">
                  <c:v>198749</c:v>
                </c:pt>
                <c:pt idx="122">
                  <c:v>199124</c:v>
                </c:pt>
                <c:pt idx="123">
                  <c:v>200329</c:v>
                </c:pt>
                <c:pt idx="124">
                  <c:v>201423</c:v>
                </c:pt>
                <c:pt idx="125">
                  <c:v>202810</c:v>
                </c:pt>
                <c:pt idx="126">
                  <c:v>204282</c:v>
                </c:pt>
                <c:pt idx="127">
                  <c:v>205683</c:v>
                </c:pt>
                <c:pt idx="128">
                  <c:v>206020</c:v>
                </c:pt>
                <c:pt idx="129">
                  <c:v>206359</c:v>
                </c:pt>
                <c:pt idx="130">
                  <c:v>207440</c:v>
                </c:pt>
                <c:pt idx="131">
                  <c:v>208542</c:v>
                </c:pt>
                <c:pt idx="132">
                  <c:v>209687</c:v>
                </c:pt>
                <c:pt idx="133">
                  <c:v>210881</c:v>
                </c:pt>
                <c:pt idx="134">
                  <c:v>212185</c:v>
                </c:pt>
                <c:pt idx="135">
                  <c:v>212683</c:v>
                </c:pt>
                <c:pt idx="136">
                  <c:v>212993</c:v>
                </c:pt>
                <c:pt idx="137">
                  <c:v>213966</c:v>
                </c:pt>
                <c:pt idx="138">
                  <c:v>214990</c:v>
                </c:pt>
                <c:pt idx="139">
                  <c:v>216031</c:v>
                </c:pt>
                <c:pt idx="140">
                  <c:v>217168</c:v>
                </c:pt>
                <c:pt idx="141">
                  <c:v>218170</c:v>
                </c:pt>
                <c:pt idx="142">
                  <c:v>218610</c:v>
                </c:pt>
                <c:pt idx="143">
                  <c:v>218895</c:v>
                </c:pt>
                <c:pt idx="144">
                  <c:v>219680</c:v>
                </c:pt>
                <c:pt idx="145">
                  <c:v>220558</c:v>
                </c:pt>
                <c:pt idx="146">
                  <c:v>221461</c:v>
                </c:pt>
                <c:pt idx="147">
                  <c:v>222393</c:v>
                </c:pt>
                <c:pt idx="148">
                  <c:v>223313</c:v>
                </c:pt>
                <c:pt idx="149">
                  <c:v>223664</c:v>
                </c:pt>
                <c:pt idx="150">
                  <c:v>223892</c:v>
                </c:pt>
                <c:pt idx="151">
                  <c:v>224445</c:v>
                </c:pt>
                <c:pt idx="152">
                  <c:v>225074</c:v>
                </c:pt>
                <c:pt idx="153">
                  <c:v>225927</c:v>
                </c:pt>
                <c:pt idx="154">
                  <c:v>226710</c:v>
                </c:pt>
                <c:pt idx="155">
                  <c:v>227535</c:v>
                </c:pt>
                <c:pt idx="156">
                  <c:v>227898</c:v>
                </c:pt>
                <c:pt idx="157">
                  <c:v>228187</c:v>
                </c:pt>
                <c:pt idx="158">
                  <c:v>228879</c:v>
                </c:pt>
                <c:pt idx="159">
                  <c:v>229604</c:v>
                </c:pt>
                <c:pt idx="160">
                  <c:v>230495</c:v>
                </c:pt>
                <c:pt idx="161">
                  <c:v>231331</c:v>
                </c:pt>
                <c:pt idx="162">
                  <c:v>232211</c:v>
                </c:pt>
                <c:pt idx="163">
                  <c:v>232632</c:v>
                </c:pt>
                <c:pt idx="164">
                  <c:v>233035</c:v>
                </c:pt>
                <c:pt idx="165">
                  <c:v>233926</c:v>
                </c:pt>
                <c:pt idx="166">
                  <c:v>234907</c:v>
                </c:pt>
                <c:pt idx="167">
                  <c:v>235822</c:v>
                </c:pt>
                <c:pt idx="168">
                  <c:v>236696</c:v>
                </c:pt>
                <c:pt idx="169">
                  <c:v>237550</c:v>
                </c:pt>
                <c:pt idx="170">
                  <c:v>238071</c:v>
                </c:pt>
                <c:pt idx="171">
                  <c:v>238440</c:v>
                </c:pt>
                <c:pt idx="172">
                  <c:v>239111</c:v>
                </c:pt>
                <c:pt idx="173">
                  <c:v>239864</c:v>
                </c:pt>
                <c:pt idx="174">
                  <c:v>240569</c:v>
                </c:pt>
                <c:pt idx="175">
                  <c:v>241278</c:v>
                </c:pt>
                <c:pt idx="176">
                  <c:v>241949</c:v>
                </c:pt>
                <c:pt idx="177">
                  <c:v>242281</c:v>
                </c:pt>
                <c:pt idx="178">
                  <c:v>242538</c:v>
                </c:pt>
                <c:pt idx="179">
                  <c:v>243047</c:v>
                </c:pt>
                <c:pt idx="180">
                  <c:v>243634</c:v>
                </c:pt>
                <c:pt idx="181">
                  <c:v>244129</c:v>
                </c:pt>
                <c:pt idx="182">
                  <c:v>244629</c:v>
                </c:pt>
                <c:pt idx="183">
                  <c:v>245126</c:v>
                </c:pt>
                <c:pt idx="184">
                  <c:v>245380</c:v>
                </c:pt>
                <c:pt idx="185">
                  <c:v>245568</c:v>
                </c:pt>
                <c:pt idx="186">
                  <c:v>246063</c:v>
                </c:pt>
                <c:pt idx="187">
                  <c:v>246523</c:v>
                </c:pt>
                <c:pt idx="188">
                  <c:v>247001</c:v>
                </c:pt>
                <c:pt idx="189">
                  <c:v>247362</c:v>
                </c:pt>
                <c:pt idx="190">
                  <c:v>247843</c:v>
                </c:pt>
                <c:pt idx="191">
                  <c:v>247941</c:v>
                </c:pt>
                <c:pt idx="192">
                  <c:v>248057</c:v>
                </c:pt>
                <c:pt idx="193">
                  <c:v>248168</c:v>
                </c:pt>
                <c:pt idx="194">
                  <c:v>248266</c:v>
                </c:pt>
                <c:pt idx="195">
                  <c:v>248679</c:v>
                </c:pt>
                <c:pt idx="196">
                  <c:v>249126</c:v>
                </c:pt>
                <c:pt idx="197">
                  <c:v>249569</c:v>
                </c:pt>
                <c:pt idx="198">
                  <c:v>249736</c:v>
                </c:pt>
                <c:pt idx="199">
                  <c:v>249857</c:v>
                </c:pt>
                <c:pt idx="200">
                  <c:v>250303</c:v>
                </c:pt>
                <c:pt idx="201">
                  <c:v>250749</c:v>
                </c:pt>
                <c:pt idx="202">
                  <c:v>251234</c:v>
                </c:pt>
                <c:pt idx="203">
                  <c:v>251728</c:v>
                </c:pt>
                <c:pt idx="204">
                  <c:v>252215</c:v>
                </c:pt>
                <c:pt idx="205">
                  <c:v>252396</c:v>
                </c:pt>
                <c:pt idx="206">
                  <c:v>252542</c:v>
                </c:pt>
                <c:pt idx="207">
                  <c:v>252963</c:v>
                </c:pt>
                <c:pt idx="208">
                  <c:v>253317</c:v>
                </c:pt>
                <c:pt idx="209">
                  <c:v>253785</c:v>
                </c:pt>
                <c:pt idx="210">
                  <c:v>254180</c:v>
                </c:pt>
                <c:pt idx="211">
                  <c:v>254572</c:v>
                </c:pt>
                <c:pt idx="212">
                  <c:v>254684</c:v>
                </c:pt>
                <c:pt idx="213">
                  <c:v>254773</c:v>
                </c:pt>
                <c:pt idx="214">
                  <c:v>255161</c:v>
                </c:pt>
                <c:pt idx="215">
                  <c:v>255584</c:v>
                </c:pt>
                <c:pt idx="216">
                  <c:v>255945</c:v>
                </c:pt>
                <c:pt idx="217">
                  <c:v>256281</c:v>
                </c:pt>
                <c:pt idx="218">
                  <c:v>256698</c:v>
                </c:pt>
                <c:pt idx="219">
                  <c:v>256820</c:v>
                </c:pt>
                <c:pt idx="220">
                  <c:v>256922</c:v>
                </c:pt>
                <c:pt idx="221">
                  <c:v>257203</c:v>
                </c:pt>
                <c:pt idx="222">
                  <c:v>257471</c:v>
                </c:pt>
                <c:pt idx="223">
                  <c:v>257784</c:v>
                </c:pt>
                <c:pt idx="224">
                  <c:v>258049</c:v>
                </c:pt>
                <c:pt idx="225">
                  <c:v>258330</c:v>
                </c:pt>
                <c:pt idx="226">
                  <c:v>258403</c:v>
                </c:pt>
                <c:pt idx="227">
                  <c:v>258467</c:v>
                </c:pt>
                <c:pt idx="228">
                  <c:v>258676</c:v>
                </c:pt>
                <c:pt idx="229">
                  <c:v>258884</c:v>
                </c:pt>
                <c:pt idx="230">
                  <c:v>259047</c:v>
                </c:pt>
                <c:pt idx="231">
                  <c:v>259279</c:v>
                </c:pt>
                <c:pt idx="232">
                  <c:v>259471</c:v>
                </c:pt>
                <c:pt idx="233">
                  <c:v>259528</c:v>
                </c:pt>
                <c:pt idx="234">
                  <c:v>259574</c:v>
                </c:pt>
                <c:pt idx="235">
                  <c:v>259758</c:v>
                </c:pt>
                <c:pt idx="236">
                  <c:v>259939</c:v>
                </c:pt>
                <c:pt idx="237">
                  <c:v>260102</c:v>
                </c:pt>
                <c:pt idx="238">
                  <c:v>260265</c:v>
                </c:pt>
                <c:pt idx="239">
                  <c:v>260509</c:v>
                </c:pt>
                <c:pt idx="240">
                  <c:v>260551</c:v>
                </c:pt>
                <c:pt idx="241">
                  <c:v>260582</c:v>
                </c:pt>
                <c:pt idx="242">
                  <c:v>260782</c:v>
                </c:pt>
                <c:pt idx="243">
                  <c:v>260974</c:v>
                </c:pt>
                <c:pt idx="244">
                  <c:v>261140</c:v>
                </c:pt>
                <c:pt idx="245">
                  <c:v>261300</c:v>
                </c:pt>
                <c:pt idx="246">
                  <c:v>261517</c:v>
                </c:pt>
                <c:pt idx="247">
                  <c:v>261560</c:v>
                </c:pt>
                <c:pt idx="248">
                  <c:v>261593</c:v>
                </c:pt>
                <c:pt idx="249">
                  <c:v>261763</c:v>
                </c:pt>
                <c:pt idx="250">
                  <c:v>261927</c:v>
                </c:pt>
                <c:pt idx="251">
                  <c:v>262049</c:v>
                </c:pt>
                <c:pt idx="252">
                  <c:v>262223</c:v>
                </c:pt>
                <c:pt idx="253">
                  <c:v>262419</c:v>
                </c:pt>
                <c:pt idx="254">
                  <c:v>262454</c:v>
                </c:pt>
                <c:pt idx="255">
                  <c:v>262487</c:v>
                </c:pt>
                <c:pt idx="256">
                  <c:v>262623</c:v>
                </c:pt>
                <c:pt idx="257">
                  <c:v>262710</c:v>
                </c:pt>
                <c:pt idx="258">
                  <c:v>262833</c:v>
                </c:pt>
                <c:pt idx="259">
                  <c:v>262975</c:v>
                </c:pt>
                <c:pt idx="260">
                  <c:v>263120</c:v>
                </c:pt>
                <c:pt idx="261">
                  <c:v>263154</c:v>
                </c:pt>
                <c:pt idx="262">
                  <c:v>263177</c:v>
                </c:pt>
                <c:pt idx="263">
                  <c:v>263288</c:v>
                </c:pt>
                <c:pt idx="264">
                  <c:v>263420</c:v>
                </c:pt>
                <c:pt idx="265">
                  <c:v>263528</c:v>
                </c:pt>
                <c:pt idx="266">
                  <c:v>263649</c:v>
                </c:pt>
                <c:pt idx="267">
                  <c:v>263814</c:v>
                </c:pt>
                <c:pt idx="268">
                  <c:v>263855</c:v>
                </c:pt>
                <c:pt idx="269">
                  <c:v>263866</c:v>
                </c:pt>
                <c:pt idx="270">
                  <c:v>263968</c:v>
                </c:pt>
                <c:pt idx="271">
                  <c:v>264072</c:v>
                </c:pt>
                <c:pt idx="272">
                  <c:v>264167</c:v>
                </c:pt>
                <c:pt idx="273">
                  <c:v>264300</c:v>
                </c:pt>
                <c:pt idx="274">
                  <c:v>264467</c:v>
                </c:pt>
                <c:pt idx="275">
                  <c:v>264499</c:v>
                </c:pt>
                <c:pt idx="276">
                  <c:v>264509</c:v>
                </c:pt>
                <c:pt idx="277">
                  <c:v>264607</c:v>
                </c:pt>
                <c:pt idx="278">
                  <c:v>264615</c:v>
                </c:pt>
                <c:pt idx="279">
                  <c:v>264700</c:v>
                </c:pt>
                <c:pt idx="280">
                  <c:v>264800</c:v>
                </c:pt>
                <c:pt idx="281">
                  <c:v>264892</c:v>
                </c:pt>
                <c:pt idx="282">
                  <c:v>264913</c:v>
                </c:pt>
                <c:pt idx="283">
                  <c:v>264927</c:v>
                </c:pt>
                <c:pt idx="284">
                  <c:v>264995</c:v>
                </c:pt>
                <c:pt idx="285">
                  <c:v>265075</c:v>
                </c:pt>
                <c:pt idx="286">
                  <c:v>265172</c:v>
                </c:pt>
                <c:pt idx="287">
                  <c:v>265242</c:v>
                </c:pt>
                <c:pt idx="288">
                  <c:v>265354</c:v>
                </c:pt>
                <c:pt idx="289">
                  <c:v>265379</c:v>
                </c:pt>
                <c:pt idx="290">
                  <c:v>265391</c:v>
                </c:pt>
                <c:pt idx="291">
                  <c:v>265466</c:v>
                </c:pt>
                <c:pt idx="292">
                  <c:v>265549</c:v>
                </c:pt>
                <c:pt idx="293">
                  <c:v>265627</c:v>
                </c:pt>
                <c:pt idx="294">
                  <c:v>265692</c:v>
                </c:pt>
                <c:pt idx="295">
                  <c:v>265808</c:v>
                </c:pt>
                <c:pt idx="296">
                  <c:v>265838</c:v>
                </c:pt>
                <c:pt idx="297">
                  <c:v>265868</c:v>
                </c:pt>
                <c:pt idx="298">
                  <c:v>265998</c:v>
                </c:pt>
                <c:pt idx="299">
                  <c:v>266088</c:v>
                </c:pt>
                <c:pt idx="300">
                  <c:v>266220</c:v>
                </c:pt>
                <c:pt idx="301">
                  <c:v>266457</c:v>
                </c:pt>
                <c:pt idx="302">
                  <c:v>266761</c:v>
                </c:pt>
                <c:pt idx="303">
                  <c:v>266844</c:v>
                </c:pt>
                <c:pt idx="304">
                  <c:v>266909</c:v>
                </c:pt>
                <c:pt idx="305">
                  <c:v>267170</c:v>
                </c:pt>
                <c:pt idx="306">
                  <c:v>267524</c:v>
                </c:pt>
                <c:pt idx="307">
                  <c:v>267935</c:v>
                </c:pt>
                <c:pt idx="308">
                  <c:v>268017</c:v>
                </c:pt>
                <c:pt idx="309">
                  <c:v>268392</c:v>
                </c:pt>
                <c:pt idx="310">
                  <c:v>268500</c:v>
                </c:pt>
                <c:pt idx="311">
                  <c:v>268568</c:v>
                </c:pt>
                <c:pt idx="312">
                  <c:v>268973</c:v>
                </c:pt>
                <c:pt idx="313">
                  <c:v>269377</c:v>
                </c:pt>
                <c:pt idx="314">
                  <c:v>269784</c:v>
                </c:pt>
                <c:pt idx="315">
                  <c:v>270281</c:v>
                </c:pt>
                <c:pt idx="316">
                  <c:v>270841</c:v>
                </c:pt>
                <c:pt idx="317">
                  <c:v>270992</c:v>
                </c:pt>
                <c:pt idx="318">
                  <c:v>271088</c:v>
                </c:pt>
                <c:pt idx="319">
                  <c:v>271482</c:v>
                </c:pt>
                <c:pt idx="320">
                  <c:v>271809</c:v>
                </c:pt>
                <c:pt idx="321">
                  <c:v>272188</c:v>
                </c:pt>
                <c:pt idx="322">
                  <c:v>272571</c:v>
                </c:pt>
                <c:pt idx="323">
                  <c:v>273095</c:v>
                </c:pt>
                <c:pt idx="324">
                  <c:v>273216</c:v>
                </c:pt>
                <c:pt idx="325">
                  <c:v>273295</c:v>
                </c:pt>
                <c:pt idx="326">
                  <c:v>273698</c:v>
                </c:pt>
                <c:pt idx="327">
                  <c:v>274151</c:v>
                </c:pt>
                <c:pt idx="328">
                  <c:v>274246</c:v>
                </c:pt>
                <c:pt idx="329">
                  <c:v>2746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F$1:$LW$1</c:f>
              <c:strCache>
                <c:ptCount val="330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</c:strCache>
            </c:strRef>
          </c:cat>
          <c:val>
            <c:numRef>
              <c:f>List1!$F$3:$LW$3</c:f>
              <c:numCache>
                <c:formatCode>General</c:formatCode>
                <c:ptCount val="330"/>
                <c:pt idx="3">
                  <c:v>411</c:v>
                </c:pt>
                <c:pt idx="4">
                  <c:v>1125</c:v>
                </c:pt>
                <c:pt idx="5">
                  <c:v>2236</c:v>
                </c:pt>
                <c:pt idx="6">
                  <c:v>3372</c:v>
                </c:pt>
                <c:pt idx="7">
                  <c:v>3751</c:v>
                </c:pt>
                <c:pt idx="8">
                  <c:v>3870</c:v>
                </c:pt>
                <c:pt idx="9">
                  <c:v>4351</c:v>
                </c:pt>
                <c:pt idx="10">
                  <c:v>4668</c:v>
                </c:pt>
                <c:pt idx="11">
                  <c:v>6017</c:v>
                </c:pt>
                <c:pt idx="12">
                  <c:v>7659</c:v>
                </c:pt>
                <c:pt idx="13">
                  <c:v>9669</c:v>
                </c:pt>
                <c:pt idx="14">
                  <c:v>12224</c:v>
                </c:pt>
                <c:pt idx="15">
                  <c:v>15357</c:v>
                </c:pt>
                <c:pt idx="16">
                  <c:v>15804</c:v>
                </c:pt>
                <c:pt idx="17">
                  <c:v>16158</c:v>
                </c:pt>
                <c:pt idx="18">
                  <c:v>18961</c:v>
                </c:pt>
                <c:pt idx="19">
                  <c:v>22151</c:v>
                </c:pt>
                <c:pt idx="20">
                  <c:v>25013</c:v>
                </c:pt>
                <c:pt idx="21">
                  <c:v>28203</c:v>
                </c:pt>
                <c:pt idx="22">
                  <c:v>30990</c:v>
                </c:pt>
                <c:pt idx="23">
                  <c:v>31372</c:v>
                </c:pt>
                <c:pt idx="24">
                  <c:v>31598</c:v>
                </c:pt>
                <c:pt idx="25">
                  <c:v>33554</c:v>
                </c:pt>
                <c:pt idx="26">
                  <c:v>35244</c:v>
                </c:pt>
                <c:pt idx="27">
                  <c:v>36889</c:v>
                </c:pt>
                <c:pt idx="28">
                  <c:v>38419</c:v>
                </c:pt>
                <c:pt idx="29">
                  <c:v>39730</c:v>
                </c:pt>
                <c:pt idx="30">
                  <c:v>39888</c:v>
                </c:pt>
                <c:pt idx="31">
                  <c:v>39997</c:v>
                </c:pt>
                <c:pt idx="32">
                  <c:v>40642</c:v>
                </c:pt>
                <c:pt idx="33">
                  <c:v>41415</c:v>
                </c:pt>
                <c:pt idx="34">
                  <c:v>42069</c:v>
                </c:pt>
                <c:pt idx="35">
                  <c:v>42676</c:v>
                </c:pt>
                <c:pt idx="36">
                  <c:v>43239</c:v>
                </c:pt>
                <c:pt idx="37">
                  <c:v>43262</c:v>
                </c:pt>
                <c:pt idx="38">
                  <c:v>43280</c:v>
                </c:pt>
                <c:pt idx="39">
                  <c:v>43637</c:v>
                </c:pt>
                <c:pt idx="40">
                  <c:v>43978</c:v>
                </c:pt>
                <c:pt idx="41">
                  <c:v>44339</c:v>
                </c:pt>
                <c:pt idx="42">
                  <c:v>44671</c:v>
                </c:pt>
                <c:pt idx="43">
                  <c:v>45088</c:v>
                </c:pt>
                <c:pt idx="44">
                  <c:v>45110</c:v>
                </c:pt>
                <c:pt idx="45">
                  <c:v>45130</c:v>
                </c:pt>
                <c:pt idx="46">
                  <c:v>45399</c:v>
                </c:pt>
                <c:pt idx="47">
                  <c:v>45720</c:v>
                </c:pt>
                <c:pt idx="48">
                  <c:v>46123</c:v>
                </c:pt>
                <c:pt idx="49">
                  <c:v>46596</c:v>
                </c:pt>
                <c:pt idx="50">
                  <c:v>47126</c:v>
                </c:pt>
                <c:pt idx="51">
                  <c:v>47299</c:v>
                </c:pt>
                <c:pt idx="52">
                  <c:v>47353</c:v>
                </c:pt>
                <c:pt idx="53">
                  <c:v>47905</c:v>
                </c:pt>
                <c:pt idx="54">
                  <c:v>48394</c:v>
                </c:pt>
                <c:pt idx="55">
                  <c:v>48964</c:v>
                </c:pt>
                <c:pt idx="56">
                  <c:v>49634</c:v>
                </c:pt>
                <c:pt idx="57">
                  <c:v>50389</c:v>
                </c:pt>
                <c:pt idx="58">
                  <c:v>50517</c:v>
                </c:pt>
                <c:pt idx="59">
                  <c:v>50575</c:v>
                </c:pt>
                <c:pt idx="60">
                  <c:v>51172</c:v>
                </c:pt>
                <c:pt idx="61">
                  <c:v>51986</c:v>
                </c:pt>
                <c:pt idx="62">
                  <c:v>52809</c:v>
                </c:pt>
                <c:pt idx="63">
                  <c:v>54035</c:v>
                </c:pt>
                <c:pt idx="64">
                  <c:v>55025</c:v>
                </c:pt>
                <c:pt idx="65">
                  <c:v>55101</c:v>
                </c:pt>
                <c:pt idx="66">
                  <c:v>55148</c:v>
                </c:pt>
                <c:pt idx="67">
                  <c:v>56038</c:v>
                </c:pt>
                <c:pt idx="68">
                  <c:v>56989</c:v>
                </c:pt>
                <c:pt idx="69">
                  <c:v>57981</c:v>
                </c:pt>
                <c:pt idx="70">
                  <c:v>58889</c:v>
                </c:pt>
                <c:pt idx="71">
                  <c:v>60077</c:v>
                </c:pt>
                <c:pt idx="72">
                  <c:v>60326</c:v>
                </c:pt>
                <c:pt idx="73">
                  <c:v>60514</c:v>
                </c:pt>
                <c:pt idx="74">
                  <c:v>61292</c:v>
                </c:pt>
                <c:pt idx="75">
                  <c:v>62219</c:v>
                </c:pt>
                <c:pt idx="76">
                  <c:v>63165</c:v>
                </c:pt>
                <c:pt idx="77">
                  <c:v>64491</c:v>
                </c:pt>
                <c:pt idx="78">
                  <c:v>65590</c:v>
                </c:pt>
                <c:pt idx="79">
                  <c:v>65825</c:v>
                </c:pt>
                <c:pt idx="80">
                  <c:v>66068</c:v>
                </c:pt>
                <c:pt idx="81">
                  <c:v>66773</c:v>
                </c:pt>
                <c:pt idx="82">
                  <c:v>67814</c:v>
                </c:pt>
                <c:pt idx="83">
                  <c:v>68835</c:v>
                </c:pt>
                <c:pt idx="84">
                  <c:v>69727</c:v>
                </c:pt>
                <c:pt idx="85">
                  <c:v>70702</c:v>
                </c:pt>
                <c:pt idx="86">
                  <c:v>71062</c:v>
                </c:pt>
                <c:pt idx="87">
                  <c:v>71234</c:v>
                </c:pt>
                <c:pt idx="88">
                  <c:v>71764</c:v>
                </c:pt>
                <c:pt idx="89">
                  <c:v>72316</c:v>
                </c:pt>
                <c:pt idx="90">
                  <c:v>72820</c:v>
                </c:pt>
                <c:pt idx="91">
                  <c:v>73377</c:v>
                </c:pt>
                <c:pt idx="92">
                  <c:v>73957</c:v>
                </c:pt>
                <c:pt idx="93">
                  <c:v>74109</c:v>
                </c:pt>
                <c:pt idx="94">
                  <c:v>74276</c:v>
                </c:pt>
                <c:pt idx="95">
                  <c:v>74624</c:v>
                </c:pt>
                <c:pt idx="96">
                  <c:v>75071</c:v>
                </c:pt>
                <c:pt idx="97">
                  <c:v>75540</c:v>
                </c:pt>
                <c:pt idx="98">
                  <c:v>75993</c:v>
                </c:pt>
                <c:pt idx="99">
                  <c:v>76098</c:v>
                </c:pt>
                <c:pt idx="100">
                  <c:v>76140</c:v>
                </c:pt>
                <c:pt idx="101">
                  <c:v>76189</c:v>
                </c:pt>
                <c:pt idx="102">
                  <c:v>76224</c:v>
                </c:pt>
                <c:pt idx="103">
                  <c:v>76470</c:v>
                </c:pt>
                <c:pt idx="104">
                  <c:v>76787</c:v>
                </c:pt>
                <c:pt idx="105">
                  <c:v>77326</c:v>
                </c:pt>
                <c:pt idx="106">
                  <c:v>77900</c:v>
                </c:pt>
                <c:pt idx="107">
                  <c:v>78058</c:v>
                </c:pt>
                <c:pt idx="108">
                  <c:v>78158</c:v>
                </c:pt>
                <c:pt idx="109">
                  <c:v>78584</c:v>
                </c:pt>
                <c:pt idx="110">
                  <c:v>78962</c:v>
                </c:pt>
                <c:pt idx="111">
                  <c:v>79415</c:v>
                </c:pt>
                <c:pt idx="112">
                  <c:v>80070</c:v>
                </c:pt>
                <c:pt idx="113">
                  <c:v>80796</c:v>
                </c:pt>
                <c:pt idx="114">
                  <c:v>80999</c:v>
                </c:pt>
                <c:pt idx="115">
                  <c:v>81190</c:v>
                </c:pt>
                <c:pt idx="116">
                  <c:v>81708</c:v>
                </c:pt>
                <c:pt idx="117">
                  <c:v>82212</c:v>
                </c:pt>
                <c:pt idx="118">
                  <c:v>82871</c:v>
                </c:pt>
                <c:pt idx="119">
                  <c:v>83595</c:v>
                </c:pt>
                <c:pt idx="120">
                  <c:v>84308</c:v>
                </c:pt>
                <c:pt idx="121">
                  <c:v>84508</c:v>
                </c:pt>
                <c:pt idx="122">
                  <c:v>84696</c:v>
                </c:pt>
                <c:pt idx="123">
                  <c:v>85303</c:v>
                </c:pt>
                <c:pt idx="124">
                  <c:v>85852</c:v>
                </c:pt>
                <c:pt idx="125">
                  <c:v>86554</c:v>
                </c:pt>
                <c:pt idx="126">
                  <c:v>87312</c:v>
                </c:pt>
                <c:pt idx="127">
                  <c:v>87959</c:v>
                </c:pt>
                <c:pt idx="128">
                  <c:v>88113</c:v>
                </c:pt>
                <c:pt idx="129">
                  <c:v>88266</c:v>
                </c:pt>
                <c:pt idx="130">
                  <c:v>88773</c:v>
                </c:pt>
                <c:pt idx="131">
                  <c:v>89294</c:v>
                </c:pt>
                <c:pt idx="132">
                  <c:v>89819</c:v>
                </c:pt>
                <c:pt idx="133">
                  <c:v>90367</c:v>
                </c:pt>
                <c:pt idx="134">
                  <c:v>90936</c:v>
                </c:pt>
                <c:pt idx="135">
                  <c:v>91153</c:v>
                </c:pt>
                <c:pt idx="136">
                  <c:v>91260</c:v>
                </c:pt>
                <c:pt idx="137">
                  <c:v>91657</c:v>
                </c:pt>
                <c:pt idx="138">
                  <c:v>92136</c:v>
                </c:pt>
                <c:pt idx="139">
                  <c:v>92569</c:v>
                </c:pt>
                <c:pt idx="140">
                  <c:v>93005</c:v>
                </c:pt>
                <c:pt idx="141">
                  <c:v>93370</c:v>
                </c:pt>
                <c:pt idx="142">
                  <c:v>93529</c:v>
                </c:pt>
                <c:pt idx="143">
                  <c:v>93633</c:v>
                </c:pt>
                <c:pt idx="144">
                  <c:v>93950</c:v>
                </c:pt>
                <c:pt idx="145">
                  <c:v>94322</c:v>
                </c:pt>
                <c:pt idx="146">
                  <c:v>94681</c:v>
                </c:pt>
                <c:pt idx="147">
                  <c:v>95073</c:v>
                </c:pt>
                <c:pt idx="148">
                  <c:v>95436</c:v>
                </c:pt>
                <c:pt idx="149">
                  <c:v>95581</c:v>
                </c:pt>
                <c:pt idx="150">
                  <c:v>95679</c:v>
                </c:pt>
                <c:pt idx="151">
                  <c:v>95892</c:v>
                </c:pt>
                <c:pt idx="152">
                  <c:v>96131</c:v>
                </c:pt>
                <c:pt idx="153">
                  <c:v>96483</c:v>
                </c:pt>
                <c:pt idx="154">
                  <c:v>96813</c:v>
                </c:pt>
                <c:pt idx="155">
                  <c:v>97097</c:v>
                </c:pt>
                <c:pt idx="156">
                  <c:v>97239</c:v>
                </c:pt>
                <c:pt idx="157">
                  <c:v>97329</c:v>
                </c:pt>
                <c:pt idx="158">
                  <c:v>97606</c:v>
                </c:pt>
                <c:pt idx="159">
                  <c:v>97877</c:v>
                </c:pt>
                <c:pt idx="160">
                  <c:v>98220</c:v>
                </c:pt>
                <c:pt idx="161">
                  <c:v>98572</c:v>
                </c:pt>
                <c:pt idx="162">
                  <c:v>98897</c:v>
                </c:pt>
                <c:pt idx="163">
                  <c:v>99033</c:v>
                </c:pt>
                <c:pt idx="164">
                  <c:v>99163</c:v>
                </c:pt>
                <c:pt idx="165">
                  <c:v>99498</c:v>
                </c:pt>
                <c:pt idx="166">
                  <c:v>99838</c:v>
                </c:pt>
                <c:pt idx="167">
                  <c:v>100187</c:v>
                </c:pt>
                <c:pt idx="168">
                  <c:v>100542</c:v>
                </c:pt>
                <c:pt idx="169">
                  <c:v>100843</c:v>
                </c:pt>
                <c:pt idx="170">
                  <c:v>101049</c:v>
                </c:pt>
                <c:pt idx="171">
                  <c:v>101165</c:v>
                </c:pt>
                <c:pt idx="172">
                  <c:v>101408</c:v>
                </c:pt>
                <c:pt idx="173">
                  <c:v>101679</c:v>
                </c:pt>
                <c:pt idx="174">
                  <c:v>101921</c:v>
                </c:pt>
                <c:pt idx="175">
                  <c:v>102189</c:v>
                </c:pt>
                <c:pt idx="176">
                  <c:v>102406</c:v>
                </c:pt>
                <c:pt idx="177">
                  <c:v>102524</c:v>
                </c:pt>
                <c:pt idx="178">
                  <c:v>102616</c:v>
                </c:pt>
                <c:pt idx="179">
                  <c:v>102794</c:v>
                </c:pt>
                <c:pt idx="180">
                  <c:v>103012</c:v>
                </c:pt>
                <c:pt idx="181">
                  <c:v>103200</c:v>
                </c:pt>
                <c:pt idx="182">
                  <c:v>103359</c:v>
                </c:pt>
                <c:pt idx="183">
                  <c:v>103546</c:v>
                </c:pt>
                <c:pt idx="184">
                  <c:v>103637</c:v>
                </c:pt>
                <c:pt idx="185">
                  <c:v>103703</c:v>
                </c:pt>
                <c:pt idx="186">
                  <c:v>103884</c:v>
                </c:pt>
                <c:pt idx="187">
                  <c:v>104052</c:v>
                </c:pt>
                <c:pt idx="188">
                  <c:v>104231</c:v>
                </c:pt>
                <c:pt idx="189">
                  <c:v>104371</c:v>
                </c:pt>
                <c:pt idx="190">
                  <c:v>104564</c:v>
                </c:pt>
                <c:pt idx="191">
                  <c:v>104597</c:v>
                </c:pt>
                <c:pt idx="192">
                  <c:v>104642</c:v>
                </c:pt>
                <c:pt idx="193">
                  <c:v>104690</c:v>
                </c:pt>
                <c:pt idx="194">
                  <c:v>104722</c:v>
                </c:pt>
                <c:pt idx="195">
                  <c:v>104886</c:v>
                </c:pt>
                <c:pt idx="196">
                  <c:v>105063</c:v>
                </c:pt>
                <c:pt idx="197">
                  <c:v>105232</c:v>
                </c:pt>
                <c:pt idx="198">
                  <c:v>105291</c:v>
                </c:pt>
                <c:pt idx="199">
                  <c:v>105340</c:v>
                </c:pt>
                <c:pt idx="200">
                  <c:v>105502</c:v>
                </c:pt>
                <c:pt idx="201">
                  <c:v>105686</c:v>
                </c:pt>
                <c:pt idx="202">
                  <c:v>105890</c:v>
                </c:pt>
                <c:pt idx="203">
                  <c:v>106079</c:v>
                </c:pt>
                <c:pt idx="204">
                  <c:v>106262</c:v>
                </c:pt>
                <c:pt idx="205">
                  <c:v>106312</c:v>
                </c:pt>
                <c:pt idx="206">
                  <c:v>106370</c:v>
                </c:pt>
                <c:pt idx="207">
                  <c:v>106541</c:v>
                </c:pt>
                <c:pt idx="208">
                  <c:v>106690</c:v>
                </c:pt>
                <c:pt idx="209">
                  <c:v>106870</c:v>
                </c:pt>
                <c:pt idx="210">
                  <c:v>107046</c:v>
                </c:pt>
                <c:pt idx="211">
                  <c:v>107193</c:v>
                </c:pt>
                <c:pt idx="212">
                  <c:v>107237</c:v>
                </c:pt>
                <c:pt idx="213">
                  <c:v>107263</c:v>
                </c:pt>
                <c:pt idx="214">
                  <c:v>107431</c:v>
                </c:pt>
                <c:pt idx="215">
                  <c:v>107600</c:v>
                </c:pt>
                <c:pt idx="216">
                  <c:v>107751</c:v>
                </c:pt>
                <c:pt idx="217">
                  <c:v>107900</c:v>
                </c:pt>
                <c:pt idx="218">
                  <c:v>108065</c:v>
                </c:pt>
                <c:pt idx="219">
                  <c:v>108104</c:v>
                </c:pt>
                <c:pt idx="220">
                  <c:v>108144</c:v>
                </c:pt>
                <c:pt idx="221">
                  <c:v>108243</c:v>
                </c:pt>
                <c:pt idx="222">
                  <c:v>108355</c:v>
                </c:pt>
                <c:pt idx="223">
                  <c:v>108483</c:v>
                </c:pt>
                <c:pt idx="224">
                  <c:v>108592</c:v>
                </c:pt>
                <c:pt idx="225">
                  <c:v>108712</c:v>
                </c:pt>
                <c:pt idx="226">
                  <c:v>108734</c:v>
                </c:pt>
                <c:pt idx="227">
                  <c:v>108759</c:v>
                </c:pt>
                <c:pt idx="228">
                  <c:v>108844</c:v>
                </c:pt>
                <c:pt idx="229">
                  <c:v>108923</c:v>
                </c:pt>
                <c:pt idx="230">
                  <c:v>108993</c:v>
                </c:pt>
                <c:pt idx="231">
                  <c:v>109099</c:v>
                </c:pt>
                <c:pt idx="232">
                  <c:v>109162</c:v>
                </c:pt>
                <c:pt idx="233">
                  <c:v>109183</c:v>
                </c:pt>
                <c:pt idx="234">
                  <c:v>109205</c:v>
                </c:pt>
                <c:pt idx="235">
                  <c:v>109291</c:v>
                </c:pt>
                <c:pt idx="236">
                  <c:v>109370</c:v>
                </c:pt>
                <c:pt idx="237">
                  <c:v>109433</c:v>
                </c:pt>
                <c:pt idx="238">
                  <c:v>109503</c:v>
                </c:pt>
                <c:pt idx="239">
                  <c:v>109617</c:v>
                </c:pt>
                <c:pt idx="240">
                  <c:v>109631</c:v>
                </c:pt>
                <c:pt idx="241">
                  <c:v>109642</c:v>
                </c:pt>
                <c:pt idx="242">
                  <c:v>109738</c:v>
                </c:pt>
                <c:pt idx="243">
                  <c:v>109825</c:v>
                </c:pt>
                <c:pt idx="244">
                  <c:v>109892</c:v>
                </c:pt>
                <c:pt idx="245">
                  <c:v>109964</c:v>
                </c:pt>
                <c:pt idx="246">
                  <c:v>110052</c:v>
                </c:pt>
                <c:pt idx="247">
                  <c:v>110068</c:v>
                </c:pt>
                <c:pt idx="248">
                  <c:v>110084</c:v>
                </c:pt>
                <c:pt idx="249">
                  <c:v>110156</c:v>
                </c:pt>
                <c:pt idx="250">
                  <c:v>110217</c:v>
                </c:pt>
                <c:pt idx="251">
                  <c:v>110273</c:v>
                </c:pt>
                <c:pt idx="252">
                  <c:v>110347</c:v>
                </c:pt>
                <c:pt idx="253">
                  <c:v>110423</c:v>
                </c:pt>
                <c:pt idx="254">
                  <c:v>110435</c:v>
                </c:pt>
                <c:pt idx="255">
                  <c:v>110445</c:v>
                </c:pt>
                <c:pt idx="256">
                  <c:v>110504</c:v>
                </c:pt>
                <c:pt idx="257">
                  <c:v>110543</c:v>
                </c:pt>
                <c:pt idx="258">
                  <c:v>110594</c:v>
                </c:pt>
                <c:pt idx="259">
                  <c:v>110649</c:v>
                </c:pt>
                <c:pt idx="260">
                  <c:v>110700</c:v>
                </c:pt>
                <c:pt idx="261">
                  <c:v>110717</c:v>
                </c:pt>
                <c:pt idx="262">
                  <c:v>110724</c:v>
                </c:pt>
                <c:pt idx="263">
                  <c:v>110768</c:v>
                </c:pt>
                <c:pt idx="264">
                  <c:v>110831</c:v>
                </c:pt>
                <c:pt idx="265">
                  <c:v>110880</c:v>
                </c:pt>
                <c:pt idx="266">
                  <c:v>110937</c:v>
                </c:pt>
                <c:pt idx="267">
                  <c:v>111005</c:v>
                </c:pt>
                <c:pt idx="268">
                  <c:v>111022</c:v>
                </c:pt>
                <c:pt idx="269">
                  <c:v>111028</c:v>
                </c:pt>
                <c:pt idx="270">
                  <c:v>111066</c:v>
                </c:pt>
                <c:pt idx="271">
                  <c:v>111115</c:v>
                </c:pt>
                <c:pt idx="272">
                  <c:v>111158</c:v>
                </c:pt>
                <c:pt idx="273">
                  <c:v>111211</c:v>
                </c:pt>
                <c:pt idx="274">
                  <c:v>111283</c:v>
                </c:pt>
                <c:pt idx="275">
                  <c:v>111293</c:v>
                </c:pt>
                <c:pt idx="276">
                  <c:v>111297</c:v>
                </c:pt>
                <c:pt idx="277">
                  <c:v>111341</c:v>
                </c:pt>
                <c:pt idx="278">
                  <c:v>111343</c:v>
                </c:pt>
                <c:pt idx="279">
                  <c:v>111384</c:v>
                </c:pt>
                <c:pt idx="280">
                  <c:v>111423</c:v>
                </c:pt>
                <c:pt idx="281">
                  <c:v>111457</c:v>
                </c:pt>
                <c:pt idx="282">
                  <c:v>111464</c:v>
                </c:pt>
                <c:pt idx="283">
                  <c:v>111471</c:v>
                </c:pt>
                <c:pt idx="284">
                  <c:v>111499</c:v>
                </c:pt>
                <c:pt idx="285">
                  <c:v>111544</c:v>
                </c:pt>
                <c:pt idx="286">
                  <c:v>111593</c:v>
                </c:pt>
                <c:pt idx="287">
                  <c:v>111621</c:v>
                </c:pt>
                <c:pt idx="288">
                  <c:v>111672</c:v>
                </c:pt>
                <c:pt idx="289">
                  <c:v>111682</c:v>
                </c:pt>
                <c:pt idx="290">
                  <c:v>111687</c:v>
                </c:pt>
                <c:pt idx="291">
                  <c:v>111717</c:v>
                </c:pt>
                <c:pt idx="292">
                  <c:v>111738</c:v>
                </c:pt>
                <c:pt idx="293">
                  <c:v>111775</c:v>
                </c:pt>
                <c:pt idx="294">
                  <c:v>111804</c:v>
                </c:pt>
                <c:pt idx="295">
                  <c:v>111847</c:v>
                </c:pt>
                <c:pt idx="296">
                  <c:v>111858</c:v>
                </c:pt>
                <c:pt idx="297">
                  <c:v>111875</c:v>
                </c:pt>
                <c:pt idx="298">
                  <c:v>111927</c:v>
                </c:pt>
                <c:pt idx="299">
                  <c:v>111980</c:v>
                </c:pt>
                <c:pt idx="300">
                  <c:v>112039</c:v>
                </c:pt>
                <c:pt idx="301">
                  <c:v>112152</c:v>
                </c:pt>
                <c:pt idx="302">
                  <c:v>112274</c:v>
                </c:pt>
                <c:pt idx="303">
                  <c:v>112300</c:v>
                </c:pt>
                <c:pt idx="304">
                  <c:v>112325</c:v>
                </c:pt>
                <c:pt idx="305">
                  <c:v>112449</c:v>
                </c:pt>
                <c:pt idx="306">
                  <c:v>112616</c:v>
                </c:pt>
                <c:pt idx="307">
                  <c:v>112815</c:v>
                </c:pt>
                <c:pt idx="308">
                  <c:v>112852</c:v>
                </c:pt>
                <c:pt idx="309">
                  <c:v>113013</c:v>
                </c:pt>
                <c:pt idx="310">
                  <c:v>113059</c:v>
                </c:pt>
                <c:pt idx="311">
                  <c:v>113091</c:v>
                </c:pt>
                <c:pt idx="312">
                  <c:v>113257</c:v>
                </c:pt>
                <c:pt idx="313">
                  <c:v>113451</c:v>
                </c:pt>
                <c:pt idx="314">
                  <c:v>113640</c:v>
                </c:pt>
                <c:pt idx="315">
                  <c:v>113872</c:v>
                </c:pt>
                <c:pt idx="316">
                  <c:v>114120</c:v>
                </c:pt>
                <c:pt idx="317">
                  <c:v>114176</c:v>
                </c:pt>
                <c:pt idx="318">
                  <c:v>114214</c:v>
                </c:pt>
                <c:pt idx="319">
                  <c:v>114400</c:v>
                </c:pt>
                <c:pt idx="320">
                  <c:v>114548</c:v>
                </c:pt>
                <c:pt idx="321">
                  <c:v>114734</c:v>
                </c:pt>
                <c:pt idx="322">
                  <c:v>114908</c:v>
                </c:pt>
                <c:pt idx="323">
                  <c:v>115110</c:v>
                </c:pt>
                <c:pt idx="324">
                  <c:v>115169</c:v>
                </c:pt>
                <c:pt idx="325">
                  <c:v>115204</c:v>
                </c:pt>
                <c:pt idx="326">
                  <c:v>115389</c:v>
                </c:pt>
                <c:pt idx="327">
                  <c:v>115588</c:v>
                </c:pt>
                <c:pt idx="328">
                  <c:v>115635</c:v>
                </c:pt>
                <c:pt idx="329">
                  <c:v>1158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F$1:$LW$1</c:f>
              <c:strCache>
                <c:ptCount val="330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</c:strCache>
            </c:strRef>
          </c:cat>
          <c:val>
            <c:numRef>
              <c:f>List1!$F$4:$LW$4</c:f>
              <c:numCache>
                <c:formatCode>General</c:formatCode>
                <c:ptCount val="330"/>
                <c:pt idx="3">
                  <c:v>194</c:v>
                </c:pt>
                <c:pt idx="4">
                  <c:v>643</c:v>
                </c:pt>
                <c:pt idx="5">
                  <c:v>1250</c:v>
                </c:pt>
                <c:pt idx="6">
                  <c:v>1873</c:v>
                </c:pt>
                <c:pt idx="7">
                  <c:v>2046</c:v>
                </c:pt>
                <c:pt idx="8">
                  <c:v>2075</c:v>
                </c:pt>
                <c:pt idx="9">
                  <c:v>2363</c:v>
                </c:pt>
                <c:pt idx="10">
                  <c:v>2574</c:v>
                </c:pt>
                <c:pt idx="11">
                  <c:v>3200</c:v>
                </c:pt>
                <c:pt idx="12">
                  <c:v>4163</c:v>
                </c:pt>
                <c:pt idx="13">
                  <c:v>5581</c:v>
                </c:pt>
                <c:pt idx="14">
                  <c:v>7178</c:v>
                </c:pt>
                <c:pt idx="15">
                  <c:v>9022</c:v>
                </c:pt>
                <c:pt idx="16">
                  <c:v>9329</c:v>
                </c:pt>
                <c:pt idx="17">
                  <c:v>9636</c:v>
                </c:pt>
                <c:pt idx="18">
                  <c:v>11504</c:v>
                </c:pt>
                <c:pt idx="19">
                  <c:v>13792</c:v>
                </c:pt>
                <c:pt idx="20">
                  <c:v>15829</c:v>
                </c:pt>
                <c:pt idx="21">
                  <c:v>17712</c:v>
                </c:pt>
                <c:pt idx="22">
                  <c:v>19321</c:v>
                </c:pt>
                <c:pt idx="23">
                  <c:v>19539</c:v>
                </c:pt>
                <c:pt idx="24">
                  <c:v>19636</c:v>
                </c:pt>
                <c:pt idx="25">
                  <c:v>20810</c:v>
                </c:pt>
                <c:pt idx="26">
                  <c:v>21748</c:v>
                </c:pt>
                <c:pt idx="27">
                  <c:v>22689</c:v>
                </c:pt>
                <c:pt idx="28">
                  <c:v>23550</c:v>
                </c:pt>
                <c:pt idx="29">
                  <c:v>24299</c:v>
                </c:pt>
                <c:pt idx="30">
                  <c:v>24362</c:v>
                </c:pt>
                <c:pt idx="31">
                  <c:v>24406</c:v>
                </c:pt>
                <c:pt idx="32">
                  <c:v>24856</c:v>
                </c:pt>
                <c:pt idx="33">
                  <c:v>25310</c:v>
                </c:pt>
                <c:pt idx="34">
                  <c:v>25707</c:v>
                </c:pt>
                <c:pt idx="35">
                  <c:v>26108</c:v>
                </c:pt>
                <c:pt idx="36">
                  <c:v>26493</c:v>
                </c:pt>
                <c:pt idx="37">
                  <c:v>26517</c:v>
                </c:pt>
                <c:pt idx="38">
                  <c:v>26549</c:v>
                </c:pt>
                <c:pt idx="39">
                  <c:v>26840</c:v>
                </c:pt>
                <c:pt idx="40">
                  <c:v>27128</c:v>
                </c:pt>
                <c:pt idx="41">
                  <c:v>27362</c:v>
                </c:pt>
                <c:pt idx="42">
                  <c:v>27543</c:v>
                </c:pt>
                <c:pt idx="43">
                  <c:v>27778</c:v>
                </c:pt>
                <c:pt idx="44">
                  <c:v>27787</c:v>
                </c:pt>
                <c:pt idx="45">
                  <c:v>27805</c:v>
                </c:pt>
                <c:pt idx="46">
                  <c:v>28041</c:v>
                </c:pt>
                <c:pt idx="47">
                  <c:v>28236</c:v>
                </c:pt>
                <c:pt idx="48">
                  <c:v>28503</c:v>
                </c:pt>
                <c:pt idx="49">
                  <c:v>28851</c:v>
                </c:pt>
                <c:pt idx="50">
                  <c:v>29242</c:v>
                </c:pt>
                <c:pt idx="51">
                  <c:v>29352</c:v>
                </c:pt>
                <c:pt idx="52">
                  <c:v>29418</c:v>
                </c:pt>
                <c:pt idx="53">
                  <c:v>29834</c:v>
                </c:pt>
                <c:pt idx="54">
                  <c:v>30341</c:v>
                </c:pt>
                <c:pt idx="55">
                  <c:v>30886</c:v>
                </c:pt>
                <c:pt idx="56">
                  <c:v>31443</c:v>
                </c:pt>
                <c:pt idx="57">
                  <c:v>32095</c:v>
                </c:pt>
                <c:pt idx="58">
                  <c:v>32320</c:v>
                </c:pt>
                <c:pt idx="59">
                  <c:v>32376</c:v>
                </c:pt>
                <c:pt idx="60">
                  <c:v>33060</c:v>
                </c:pt>
                <c:pt idx="61">
                  <c:v>34058</c:v>
                </c:pt>
                <c:pt idx="62">
                  <c:v>35136</c:v>
                </c:pt>
                <c:pt idx="63">
                  <c:v>36287</c:v>
                </c:pt>
                <c:pt idx="64">
                  <c:v>37363</c:v>
                </c:pt>
                <c:pt idx="65">
                  <c:v>37521</c:v>
                </c:pt>
                <c:pt idx="66">
                  <c:v>37649</c:v>
                </c:pt>
                <c:pt idx="67">
                  <c:v>38761</c:v>
                </c:pt>
                <c:pt idx="68">
                  <c:v>39975</c:v>
                </c:pt>
                <c:pt idx="69">
                  <c:v>41086</c:v>
                </c:pt>
                <c:pt idx="70">
                  <c:v>42090</c:v>
                </c:pt>
                <c:pt idx="71">
                  <c:v>43273</c:v>
                </c:pt>
                <c:pt idx="72">
                  <c:v>43560</c:v>
                </c:pt>
                <c:pt idx="73">
                  <c:v>43774</c:v>
                </c:pt>
                <c:pt idx="74">
                  <c:v>44618</c:v>
                </c:pt>
                <c:pt idx="75">
                  <c:v>45439</c:v>
                </c:pt>
                <c:pt idx="76">
                  <c:v>46335</c:v>
                </c:pt>
                <c:pt idx="77">
                  <c:v>47532</c:v>
                </c:pt>
                <c:pt idx="78">
                  <c:v>48640</c:v>
                </c:pt>
                <c:pt idx="79">
                  <c:v>48925</c:v>
                </c:pt>
                <c:pt idx="80">
                  <c:v>49165</c:v>
                </c:pt>
                <c:pt idx="81">
                  <c:v>49792</c:v>
                </c:pt>
                <c:pt idx="82">
                  <c:v>50720</c:v>
                </c:pt>
                <c:pt idx="83">
                  <c:v>51659</c:v>
                </c:pt>
                <c:pt idx="84">
                  <c:v>52437</c:v>
                </c:pt>
                <c:pt idx="85">
                  <c:v>53393</c:v>
                </c:pt>
                <c:pt idx="86">
                  <c:v>53793</c:v>
                </c:pt>
                <c:pt idx="87">
                  <c:v>53999</c:v>
                </c:pt>
                <c:pt idx="88">
                  <c:v>54448</c:v>
                </c:pt>
                <c:pt idx="89">
                  <c:v>54940</c:v>
                </c:pt>
                <c:pt idx="90">
                  <c:v>55356</c:v>
                </c:pt>
                <c:pt idx="91">
                  <c:v>55904</c:v>
                </c:pt>
                <c:pt idx="92">
                  <c:v>56480</c:v>
                </c:pt>
                <c:pt idx="93">
                  <c:v>56639</c:v>
                </c:pt>
                <c:pt idx="94">
                  <c:v>56773</c:v>
                </c:pt>
                <c:pt idx="95">
                  <c:v>57083</c:v>
                </c:pt>
                <c:pt idx="96">
                  <c:v>57505</c:v>
                </c:pt>
                <c:pt idx="97">
                  <c:v>58002</c:v>
                </c:pt>
                <c:pt idx="98">
                  <c:v>58432</c:v>
                </c:pt>
                <c:pt idx="99">
                  <c:v>58520</c:v>
                </c:pt>
                <c:pt idx="100">
                  <c:v>58578</c:v>
                </c:pt>
                <c:pt idx="101">
                  <c:v>58616</c:v>
                </c:pt>
                <c:pt idx="102">
                  <c:v>58645</c:v>
                </c:pt>
                <c:pt idx="103">
                  <c:v>58875</c:v>
                </c:pt>
                <c:pt idx="104">
                  <c:v>59136</c:v>
                </c:pt>
                <c:pt idx="105">
                  <c:v>59672</c:v>
                </c:pt>
                <c:pt idx="106">
                  <c:v>60170</c:v>
                </c:pt>
                <c:pt idx="107">
                  <c:v>60343</c:v>
                </c:pt>
                <c:pt idx="108">
                  <c:v>60458</c:v>
                </c:pt>
                <c:pt idx="109">
                  <c:v>60831</c:v>
                </c:pt>
                <c:pt idx="110">
                  <c:v>61144</c:v>
                </c:pt>
                <c:pt idx="111">
                  <c:v>61528</c:v>
                </c:pt>
                <c:pt idx="112">
                  <c:v>62081</c:v>
                </c:pt>
                <c:pt idx="113">
                  <c:v>62727</c:v>
                </c:pt>
                <c:pt idx="114">
                  <c:v>62903</c:v>
                </c:pt>
                <c:pt idx="115">
                  <c:v>63097</c:v>
                </c:pt>
                <c:pt idx="116">
                  <c:v>63554</c:v>
                </c:pt>
                <c:pt idx="117">
                  <c:v>63979</c:v>
                </c:pt>
                <c:pt idx="118">
                  <c:v>64475</c:v>
                </c:pt>
                <c:pt idx="119">
                  <c:v>65075</c:v>
                </c:pt>
                <c:pt idx="120">
                  <c:v>65723</c:v>
                </c:pt>
                <c:pt idx="121">
                  <c:v>65903</c:v>
                </c:pt>
                <c:pt idx="122">
                  <c:v>66053</c:v>
                </c:pt>
                <c:pt idx="123">
                  <c:v>66537</c:v>
                </c:pt>
                <c:pt idx="124">
                  <c:v>66962</c:v>
                </c:pt>
                <c:pt idx="125">
                  <c:v>67527</c:v>
                </c:pt>
                <c:pt idx="126">
                  <c:v>68111</c:v>
                </c:pt>
                <c:pt idx="127">
                  <c:v>68727</c:v>
                </c:pt>
                <c:pt idx="128">
                  <c:v>68881</c:v>
                </c:pt>
                <c:pt idx="129">
                  <c:v>69037</c:v>
                </c:pt>
                <c:pt idx="130">
                  <c:v>69490</c:v>
                </c:pt>
                <c:pt idx="131">
                  <c:v>69945</c:v>
                </c:pt>
                <c:pt idx="132">
                  <c:v>70469</c:v>
                </c:pt>
                <c:pt idx="133">
                  <c:v>70998</c:v>
                </c:pt>
                <c:pt idx="134">
                  <c:v>71562</c:v>
                </c:pt>
                <c:pt idx="135">
                  <c:v>71781</c:v>
                </c:pt>
                <c:pt idx="136">
                  <c:v>71952</c:v>
                </c:pt>
                <c:pt idx="137">
                  <c:v>72429</c:v>
                </c:pt>
                <c:pt idx="138">
                  <c:v>72859</c:v>
                </c:pt>
                <c:pt idx="139">
                  <c:v>73335</c:v>
                </c:pt>
                <c:pt idx="140">
                  <c:v>73879</c:v>
                </c:pt>
                <c:pt idx="141">
                  <c:v>74388</c:v>
                </c:pt>
                <c:pt idx="142">
                  <c:v>74598</c:v>
                </c:pt>
                <c:pt idx="143">
                  <c:v>74748</c:v>
                </c:pt>
                <c:pt idx="144">
                  <c:v>75133</c:v>
                </c:pt>
                <c:pt idx="145">
                  <c:v>75546</c:v>
                </c:pt>
                <c:pt idx="146">
                  <c:v>76005</c:v>
                </c:pt>
                <c:pt idx="147">
                  <c:v>76445</c:v>
                </c:pt>
                <c:pt idx="148">
                  <c:v>76895</c:v>
                </c:pt>
                <c:pt idx="149">
                  <c:v>77071</c:v>
                </c:pt>
                <c:pt idx="150">
                  <c:v>77186</c:v>
                </c:pt>
                <c:pt idx="151">
                  <c:v>77476</c:v>
                </c:pt>
                <c:pt idx="152">
                  <c:v>77803</c:v>
                </c:pt>
                <c:pt idx="153">
                  <c:v>78212</c:v>
                </c:pt>
                <c:pt idx="154">
                  <c:v>78584</c:v>
                </c:pt>
                <c:pt idx="155">
                  <c:v>79021</c:v>
                </c:pt>
                <c:pt idx="156">
                  <c:v>79205</c:v>
                </c:pt>
                <c:pt idx="157">
                  <c:v>79371</c:v>
                </c:pt>
                <c:pt idx="158">
                  <c:v>79711</c:v>
                </c:pt>
                <c:pt idx="159">
                  <c:v>80083</c:v>
                </c:pt>
                <c:pt idx="160">
                  <c:v>80535</c:v>
                </c:pt>
                <c:pt idx="161">
                  <c:v>80949</c:v>
                </c:pt>
                <c:pt idx="162">
                  <c:v>81407</c:v>
                </c:pt>
                <c:pt idx="163">
                  <c:v>81665</c:v>
                </c:pt>
                <c:pt idx="164">
                  <c:v>81905</c:v>
                </c:pt>
                <c:pt idx="165">
                  <c:v>82380</c:v>
                </c:pt>
                <c:pt idx="166">
                  <c:v>82924</c:v>
                </c:pt>
                <c:pt idx="167">
                  <c:v>83404</c:v>
                </c:pt>
                <c:pt idx="168">
                  <c:v>83836</c:v>
                </c:pt>
                <c:pt idx="169">
                  <c:v>84294</c:v>
                </c:pt>
                <c:pt idx="170">
                  <c:v>84580</c:v>
                </c:pt>
                <c:pt idx="171">
                  <c:v>84803</c:v>
                </c:pt>
                <c:pt idx="172">
                  <c:v>85160</c:v>
                </c:pt>
                <c:pt idx="173">
                  <c:v>85587</c:v>
                </c:pt>
                <c:pt idx="174">
                  <c:v>85975</c:v>
                </c:pt>
                <c:pt idx="175">
                  <c:v>86340</c:v>
                </c:pt>
                <c:pt idx="176">
                  <c:v>86716</c:v>
                </c:pt>
                <c:pt idx="177">
                  <c:v>86902</c:v>
                </c:pt>
                <c:pt idx="178">
                  <c:v>87042</c:v>
                </c:pt>
                <c:pt idx="179">
                  <c:v>87334</c:v>
                </c:pt>
                <c:pt idx="180">
                  <c:v>87653</c:v>
                </c:pt>
                <c:pt idx="181">
                  <c:v>87907</c:v>
                </c:pt>
                <c:pt idx="182">
                  <c:v>88197</c:v>
                </c:pt>
                <c:pt idx="183">
                  <c:v>88451</c:v>
                </c:pt>
                <c:pt idx="184">
                  <c:v>88600</c:v>
                </c:pt>
                <c:pt idx="185">
                  <c:v>88710</c:v>
                </c:pt>
                <c:pt idx="186">
                  <c:v>88980</c:v>
                </c:pt>
                <c:pt idx="187">
                  <c:v>89226</c:v>
                </c:pt>
                <c:pt idx="188">
                  <c:v>89467</c:v>
                </c:pt>
                <c:pt idx="189">
                  <c:v>89644</c:v>
                </c:pt>
                <c:pt idx="190">
                  <c:v>89877</c:v>
                </c:pt>
                <c:pt idx="191">
                  <c:v>89930</c:v>
                </c:pt>
                <c:pt idx="192">
                  <c:v>89989</c:v>
                </c:pt>
                <c:pt idx="193">
                  <c:v>90046</c:v>
                </c:pt>
                <c:pt idx="194">
                  <c:v>90103</c:v>
                </c:pt>
                <c:pt idx="195">
                  <c:v>90312</c:v>
                </c:pt>
                <c:pt idx="196">
                  <c:v>90527</c:v>
                </c:pt>
                <c:pt idx="197">
                  <c:v>90753</c:v>
                </c:pt>
                <c:pt idx="198">
                  <c:v>90846</c:v>
                </c:pt>
                <c:pt idx="199">
                  <c:v>90904</c:v>
                </c:pt>
                <c:pt idx="200">
                  <c:v>91140</c:v>
                </c:pt>
                <c:pt idx="201">
                  <c:v>91359</c:v>
                </c:pt>
                <c:pt idx="202">
                  <c:v>91594</c:v>
                </c:pt>
                <c:pt idx="203">
                  <c:v>91841</c:v>
                </c:pt>
                <c:pt idx="204">
                  <c:v>92090</c:v>
                </c:pt>
                <c:pt idx="205">
                  <c:v>92199</c:v>
                </c:pt>
                <c:pt idx="206">
                  <c:v>92268</c:v>
                </c:pt>
                <c:pt idx="207">
                  <c:v>92469</c:v>
                </c:pt>
                <c:pt idx="208">
                  <c:v>92629</c:v>
                </c:pt>
                <c:pt idx="209">
                  <c:v>92849</c:v>
                </c:pt>
                <c:pt idx="210">
                  <c:v>93030</c:v>
                </c:pt>
                <c:pt idx="211">
                  <c:v>93242</c:v>
                </c:pt>
                <c:pt idx="212">
                  <c:v>93304</c:v>
                </c:pt>
                <c:pt idx="213">
                  <c:v>93358</c:v>
                </c:pt>
                <c:pt idx="214">
                  <c:v>93538</c:v>
                </c:pt>
                <c:pt idx="215">
                  <c:v>93738</c:v>
                </c:pt>
                <c:pt idx="216">
                  <c:v>93913</c:v>
                </c:pt>
                <c:pt idx="217">
                  <c:v>94072</c:v>
                </c:pt>
                <c:pt idx="218">
                  <c:v>94279</c:v>
                </c:pt>
                <c:pt idx="219">
                  <c:v>94345</c:v>
                </c:pt>
                <c:pt idx="220">
                  <c:v>94394</c:v>
                </c:pt>
                <c:pt idx="221">
                  <c:v>94539</c:v>
                </c:pt>
                <c:pt idx="222">
                  <c:v>94669</c:v>
                </c:pt>
                <c:pt idx="223">
                  <c:v>94814</c:v>
                </c:pt>
                <c:pt idx="224">
                  <c:v>94939</c:v>
                </c:pt>
                <c:pt idx="225">
                  <c:v>95067</c:v>
                </c:pt>
                <c:pt idx="226">
                  <c:v>95105</c:v>
                </c:pt>
                <c:pt idx="227">
                  <c:v>95139</c:v>
                </c:pt>
                <c:pt idx="228">
                  <c:v>95241</c:v>
                </c:pt>
                <c:pt idx="229">
                  <c:v>95355</c:v>
                </c:pt>
                <c:pt idx="230">
                  <c:v>95428</c:v>
                </c:pt>
                <c:pt idx="231">
                  <c:v>95531</c:v>
                </c:pt>
                <c:pt idx="232">
                  <c:v>95635</c:v>
                </c:pt>
                <c:pt idx="233">
                  <c:v>95661</c:v>
                </c:pt>
                <c:pt idx="234">
                  <c:v>95680</c:v>
                </c:pt>
                <c:pt idx="235">
                  <c:v>95761</c:v>
                </c:pt>
                <c:pt idx="236">
                  <c:v>95839</c:v>
                </c:pt>
                <c:pt idx="237">
                  <c:v>95917</c:v>
                </c:pt>
                <c:pt idx="238">
                  <c:v>95988</c:v>
                </c:pt>
                <c:pt idx="239">
                  <c:v>96085</c:v>
                </c:pt>
                <c:pt idx="240">
                  <c:v>96103</c:v>
                </c:pt>
                <c:pt idx="241">
                  <c:v>96120</c:v>
                </c:pt>
                <c:pt idx="242">
                  <c:v>96213</c:v>
                </c:pt>
                <c:pt idx="243">
                  <c:v>96289</c:v>
                </c:pt>
                <c:pt idx="244">
                  <c:v>96364</c:v>
                </c:pt>
                <c:pt idx="245">
                  <c:v>96425</c:v>
                </c:pt>
                <c:pt idx="246">
                  <c:v>96526</c:v>
                </c:pt>
                <c:pt idx="247">
                  <c:v>96551</c:v>
                </c:pt>
                <c:pt idx="248">
                  <c:v>96561</c:v>
                </c:pt>
                <c:pt idx="249">
                  <c:v>96638</c:v>
                </c:pt>
                <c:pt idx="250">
                  <c:v>96716</c:v>
                </c:pt>
                <c:pt idx="251">
                  <c:v>96762</c:v>
                </c:pt>
                <c:pt idx="252">
                  <c:v>96834</c:v>
                </c:pt>
                <c:pt idx="253">
                  <c:v>96928</c:v>
                </c:pt>
                <c:pt idx="254">
                  <c:v>96943</c:v>
                </c:pt>
                <c:pt idx="255">
                  <c:v>96961</c:v>
                </c:pt>
                <c:pt idx="256">
                  <c:v>97025</c:v>
                </c:pt>
                <c:pt idx="257">
                  <c:v>97060</c:v>
                </c:pt>
                <c:pt idx="258">
                  <c:v>97113</c:v>
                </c:pt>
                <c:pt idx="259">
                  <c:v>97172</c:v>
                </c:pt>
                <c:pt idx="260">
                  <c:v>97241</c:v>
                </c:pt>
                <c:pt idx="261">
                  <c:v>97256</c:v>
                </c:pt>
                <c:pt idx="262">
                  <c:v>97269</c:v>
                </c:pt>
                <c:pt idx="263">
                  <c:v>97317</c:v>
                </c:pt>
                <c:pt idx="264">
                  <c:v>97368</c:v>
                </c:pt>
                <c:pt idx="265">
                  <c:v>97412</c:v>
                </c:pt>
                <c:pt idx="266">
                  <c:v>97458</c:v>
                </c:pt>
                <c:pt idx="267">
                  <c:v>97530</c:v>
                </c:pt>
                <c:pt idx="268">
                  <c:v>97549</c:v>
                </c:pt>
                <c:pt idx="269">
                  <c:v>97554</c:v>
                </c:pt>
                <c:pt idx="270">
                  <c:v>97598</c:v>
                </c:pt>
                <c:pt idx="271">
                  <c:v>97645</c:v>
                </c:pt>
                <c:pt idx="272">
                  <c:v>97687</c:v>
                </c:pt>
                <c:pt idx="273">
                  <c:v>97743</c:v>
                </c:pt>
                <c:pt idx="274">
                  <c:v>97812</c:v>
                </c:pt>
                <c:pt idx="275">
                  <c:v>97828</c:v>
                </c:pt>
                <c:pt idx="276">
                  <c:v>97834</c:v>
                </c:pt>
                <c:pt idx="277">
                  <c:v>97876</c:v>
                </c:pt>
                <c:pt idx="278">
                  <c:v>97882</c:v>
                </c:pt>
                <c:pt idx="279">
                  <c:v>97909</c:v>
                </c:pt>
                <c:pt idx="280">
                  <c:v>97955</c:v>
                </c:pt>
                <c:pt idx="281">
                  <c:v>97993</c:v>
                </c:pt>
                <c:pt idx="282">
                  <c:v>98001</c:v>
                </c:pt>
                <c:pt idx="283">
                  <c:v>98008</c:v>
                </c:pt>
                <c:pt idx="284">
                  <c:v>98038</c:v>
                </c:pt>
                <c:pt idx="285">
                  <c:v>98066</c:v>
                </c:pt>
                <c:pt idx="286">
                  <c:v>98102</c:v>
                </c:pt>
                <c:pt idx="287">
                  <c:v>98126</c:v>
                </c:pt>
                <c:pt idx="288">
                  <c:v>98173</c:v>
                </c:pt>
                <c:pt idx="289">
                  <c:v>98182</c:v>
                </c:pt>
                <c:pt idx="290">
                  <c:v>98189</c:v>
                </c:pt>
                <c:pt idx="291">
                  <c:v>98215</c:v>
                </c:pt>
                <c:pt idx="292">
                  <c:v>98261</c:v>
                </c:pt>
                <c:pt idx="293">
                  <c:v>98295</c:v>
                </c:pt>
                <c:pt idx="294">
                  <c:v>98321</c:v>
                </c:pt>
                <c:pt idx="295">
                  <c:v>98377</c:v>
                </c:pt>
                <c:pt idx="296">
                  <c:v>98394</c:v>
                </c:pt>
                <c:pt idx="297">
                  <c:v>98405</c:v>
                </c:pt>
                <c:pt idx="298">
                  <c:v>98462</c:v>
                </c:pt>
                <c:pt idx="299">
                  <c:v>98493</c:v>
                </c:pt>
                <c:pt idx="300">
                  <c:v>98552</c:v>
                </c:pt>
                <c:pt idx="301">
                  <c:v>98651</c:v>
                </c:pt>
                <c:pt idx="302">
                  <c:v>98794</c:v>
                </c:pt>
                <c:pt idx="303">
                  <c:v>98844</c:v>
                </c:pt>
                <c:pt idx="304">
                  <c:v>98878</c:v>
                </c:pt>
                <c:pt idx="305">
                  <c:v>98994</c:v>
                </c:pt>
                <c:pt idx="306">
                  <c:v>99146</c:v>
                </c:pt>
                <c:pt idx="307">
                  <c:v>99314</c:v>
                </c:pt>
                <c:pt idx="308">
                  <c:v>99352</c:v>
                </c:pt>
                <c:pt idx="309">
                  <c:v>99531</c:v>
                </c:pt>
                <c:pt idx="310">
                  <c:v>99581</c:v>
                </c:pt>
                <c:pt idx="311">
                  <c:v>99614</c:v>
                </c:pt>
                <c:pt idx="312">
                  <c:v>99814</c:v>
                </c:pt>
                <c:pt idx="313">
                  <c:v>99986</c:v>
                </c:pt>
                <c:pt idx="314">
                  <c:v>100170</c:v>
                </c:pt>
                <c:pt idx="315">
                  <c:v>100377</c:v>
                </c:pt>
                <c:pt idx="316">
                  <c:v>100626</c:v>
                </c:pt>
                <c:pt idx="317">
                  <c:v>100698</c:v>
                </c:pt>
                <c:pt idx="318">
                  <c:v>100741</c:v>
                </c:pt>
                <c:pt idx="319">
                  <c:v>100920</c:v>
                </c:pt>
                <c:pt idx="320">
                  <c:v>101063</c:v>
                </c:pt>
                <c:pt idx="321">
                  <c:v>101226</c:v>
                </c:pt>
                <c:pt idx="322">
                  <c:v>101404</c:v>
                </c:pt>
                <c:pt idx="323">
                  <c:v>101664</c:v>
                </c:pt>
                <c:pt idx="324">
                  <c:v>101715</c:v>
                </c:pt>
                <c:pt idx="325">
                  <c:v>101753</c:v>
                </c:pt>
                <c:pt idx="326">
                  <c:v>101928</c:v>
                </c:pt>
                <c:pt idx="327">
                  <c:v>102129</c:v>
                </c:pt>
                <c:pt idx="328">
                  <c:v>102164</c:v>
                </c:pt>
                <c:pt idx="329">
                  <c:v>1023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F$1:$LW$1</c:f>
              <c:strCache>
                <c:ptCount val="330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</c:strCache>
            </c:strRef>
          </c:cat>
          <c:val>
            <c:numRef>
              <c:f>List1!$F$5:$LW$5</c:f>
              <c:numCache>
                <c:formatCode>General</c:formatCode>
                <c:ptCount val="330"/>
                <c:pt idx="3">
                  <c:v>446</c:v>
                </c:pt>
                <c:pt idx="4">
                  <c:v>1178</c:v>
                </c:pt>
                <c:pt idx="5">
                  <c:v>2124</c:v>
                </c:pt>
                <c:pt idx="6">
                  <c:v>3068</c:v>
                </c:pt>
                <c:pt idx="7">
                  <c:v>3406</c:v>
                </c:pt>
                <c:pt idx="8">
                  <c:v>3495</c:v>
                </c:pt>
                <c:pt idx="9">
                  <c:v>3889</c:v>
                </c:pt>
                <c:pt idx="10">
                  <c:v>4202</c:v>
                </c:pt>
                <c:pt idx="11">
                  <c:v>5403</c:v>
                </c:pt>
                <c:pt idx="12">
                  <c:v>6720</c:v>
                </c:pt>
                <c:pt idx="13">
                  <c:v>8216</c:v>
                </c:pt>
                <c:pt idx="14">
                  <c:v>9895</c:v>
                </c:pt>
                <c:pt idx="15">
                  <c:v>11707</c:v>
                </c:pt>
                <c:pt idx="16">
                  <c:v>12115</c:v>
                </c:pt>
                <c:pt idx="17">
                  <c:v>12407</c:v>
                </c:pt>
                <c:pt idx="18">
                  <c:v>14155</c:v>
                </c:pt>
                <c:pt idx="19">
                  <c:v>16110</c:v>
                </c:pt>
                <c:pt idx="20">
                  <c:v>17815</c:v>
                </c:pt>
                <c:pt idx="21">
                  <c:v>19722</c:v>
                </c:pt>
                <c:pt idx="22">
                  <c:v>21529</c:v>
                </c:pt>
                <c:pt idx="23">
                  <c:v>21864</c:v>
                </c:pt>
                <c:pt idx="24">
                  <c:v>22090</c:v>
                </c:pt>
                <c:pt idx="25">
                  <c:v>23652</c:v>
                </c:pt>
                <c:pt idx="26">
                  <c:v>24838</c:v>
                </c:pt>
                <c:pt idx="27">
                  <c:v>25966</c:v>
                </c:pt>
                <c:pt idx="28">
                  <c:v>26969</c:v>
                </c:pt>
                <c:pt idx="29">
                  <c:v>27799</c:v>
                </c:pt>
                <c:pt idx="30">
                  <c:v>27969</c:v>
                </c:pt>
                <c:pt idx="31">
                  <c:v>28051</c:v>
                </c:pt>
                <c:pt idx="32">
                  <c:v>28559</c:v>
                </c:pt>
                <c:pt idx="33">
                  <c:v>29100</c:v>
                </c:pt>
                <c:pt idx="34">
                  <c:v>29499</c:v>
                </c:pt>
                <c:pt idx="35">
                  <c:v>29877</c:v>
                </c:pt>
                <c:pt idx="36">
                  <c:v>30207</c:v>
                </c:pt>
                <c:pt idx="37">
                  <c:v>30232</c:v>
                </c:pt>
                <c:pt idx="38">
                  <c:v>30253</c:v>
                </c:pt>
                <c:pt idx="39">
                  <c:v>30497</c:v>
                </c:pt>
                <c:pt idx="40">
                  <c:v>30732</c:v>
                </c:pt>
                <c:pt idx="41">
                  <c:v>30953</c:v>
                </c:pt>
                <c:pt idx="42">
                  <c:v>31148</c:v>
                </c:pt>
                <c:pt idx="43">
                  <c:v>31423</c:v>
                </c:pt>
                <c:pt idx="44">
                  <c:v>31442</c:v>
                </c:pt>
                <c:pt idx="45">
                  <c:v>31454</c:v>
                </c:pt>
                <c:pt idx="46">
                  <c:v>31590</c:v>
                </c:pt>
                <c:pt idx="47">
                  <c:v>31728</c:v>
                </c:pt>
                <c:pt idx="48">
                  <c:v>31923</c:v>
                </c:pt>
                <c:pt idx="49">
                  <c:v>32155</c:v>
                </c:pt>
                <c:pt idx="50">
                  <c:v>32434</c:v>
                </c:pt>
                <c:pt idx="51">
                  <c:v>32533</c:v>
                </c:pt>
                <c:pt idx="52">
                  <c:v>32598</c:v>
                </c:pt>
                <c:pt idx="53">
                  <c:v>32956</c:v>
                </c:pt>
                <c:pt idx="54">
                  <c:v>33254</c:v>
                </c:pt>
                <c:pt idx="55">
                  <c:v>33515</c:v>
                </c:pt>
                <c:pt idx="56">
                  <c:v>33855</c:v>
                </c:pt>
                <c:pt idx="57">
                  <c:v>34302</c:v>
                </c:pt>
                <c:pt idx="58">
                  <c:v>34408</c:v>
                </c:pt>
                <c:pt idx="59">
                  <c:v>34455</c:v>
                </c:pt>
                <c:pt idx="60">
                  <c:v>34765</c:v>
                </c:pt>
                <c:pt idx="61">
                  <c:v>35246</c:v>
                </c:pt>
                <c:pt idx="62">
                  <c:v>35846</c:v>
                </c:pt>
                <c:pt idx="63">
                  <c:v>36501</c:v>
                </c:pt>
                <c:pt idx="64">
                  <c:v>37044</c:v>
                </c:pt>
                <c:pt idx="65">
                  <c:v>37118</c:v>
                </c:pt>
                <c:pt idx="66">
                  <c:v>37161</c:v>
                </c:pt>
                <c:pt idx="67">
                  <c:v>37708</c:v>
                </c:pt>
                <c:pt idx="68">
                  <c:v>38304</c:v>
                </c:pt>
                <c:pt idx="69">
                  <c:v>38865</c:v>
                </c:pt>
                <c:pt idx="70">
                  <c:v>39408</c:v>
                </c:pt>
                <c:pt idx="71">
                  <c:v>40002</c:v>
                </c:pt>
                <c:pt idx="72">
                  <c:v>40169</c:v>
                </c:pt>
                <c:pt idx="73">
                  <c:v>40277</c:v>
                </c:pt>
                <c:pt idx="74">
                  <c:v>40603</c:v>
                </c:pt>
                <c:pt idx="75">
                  <c:v>41000</c:v>
                </c:pt>
                <c:pt idx="76">
                  <c:v>41404</c:v>
                </c:pt>
                <c:pt idx="77">
                  <c:v>41881</c:v>
                </c:pt>
                <c:pt idx="78">
                  <c:v>42287</c:v>
                </c:pt>
                <c:pt idx="79">
                  <c:v>42425</c:v>
                </c:pt>
                <c:pt idx="80">
                  <c:v>42510</c:v>
                </c:pt>
                <c:pt idx="81">
                  <c:v>42763</c:v>
                </c:pt>
                <c:pt idx="82">
                  <c:v>43125</c:v>
                </c:pt>
                <c:pt idx="83">
                  <c:v>43483</c:v>
                </c:pt>
                <c:pt idx="84">
                  <c:v>43840</c:v>
                </c:pt>
                <c:pt idx="85">
                  <c:v>44169</c:v>
                </c:pt>
                <c:pt idx="86">
                  <c:v>44285</c:v>
                </c:pt>
                <c:pt idx="87">
                  <c:v>44354</c:v>
                </c:pt>
                <c:pt idx="88">
                  <c:v>44528</c:v>
                </c:pt>
                <c:pt idx="89">
                  <c:v>44721</c:v>
                </c:pt>
                <c:pt idx="90">
                  <c:v>44867</c:v>
                </c:pt>
                <c:pt idx="91">
                  <c:v>45059</c:v>
                </c:pt>
                <c:pt idx="92">
                  <c:v>45277</c:v>
                </c:pt>
                <c:pt idx="93">
                  <c:v>45340</c:v>
                </c:pt>
                <c:pt idx="94">
                  <c:v>45382</c:v>
                </c:pt>
                <c:pt idx="95">
                  <c:v>45507</c:v>
                </c:pt>
                <c:pt idx="96">
                  <c:v>45667</c:v>
                </c:pt>
                <c:pt idx="97">
                  <c:v>45827</c:v>
                </c:pt>
                <c:pt idx="98">
                  <c:v>46046</c:v>
                </c:pt>
                <c:pt idx="99">
                  <c:v>46122</c:v>
                </c:pt>
                <c:pt idx="100">
                  <c:v>46142</c:v>
                </c:pt>
                <c:pt idx="101">
                  <c:v>46171</c:v>
                </c:pt>
                <c:pt idx="102">
                  <c:v>46178</c:v>
                </c:pt>
                <c:pt idx="103">
                  <c:v>46268</c:v>
                </c:pt>
                <c:pt idx="104">
                  <c:v>46362</c:v>
                </c:pt>
                <c:pt idx="105">
                  <c:v>46531</c:v>
                </c:pt>
                <c:pt idx="106">
                  <c:v>46732</c:v>
                </c:pt>
                <c:pt idx="107">
                  <c:v>46778</c:v>
                </c:pt>
                <c:pt idx="108">
                  <c:v>46811</c:v>
                </c:pt>
                <c:pt idx="109">
                  <c:v>46948</c:v>
                </c:pt>
                <c:pt idx="110">
                  <c:v>47068</c:v>
                </c:pt>
                <c:pt idx="111">
                  <c:v>47173</c:v>
                </c:pt>
                <c:pt idx="112">
                  <c:v>47329</c:v>
                </c:pt>
                <c:pt idx="113">
                  <c:v>47504</c:v>
                </c:pt>
                <c:pt idx="114">
                  <c:v>47545</c:v>
                </c:pt>
                <c:pt idx="115">
                  <c:v>47600</c:v>
                </c:pt>
                <c:pt idx="116">
                  <c:v>47727</c:v>
                </c:pt>
                <c:pt idx="117">
                  <c:v>47846</c:v>
                </c:pt>
                <c:pt idx="118">
                  <c:v>47981</c:v>
                </c:pt>
                <c:pt idx="119">
                  <c:v>48127</c:v>
                </c:pt>
                <c:pt idx="120">
                  <c:v>48282</c:v>
                </c:pt>
                <c:pt idx="121">
                  <c:v>48338</c:v>
                </c:pt>
                <c:pt idx="122">
                  <c:v>48375</c:v>
                </c:pt>
                <c:pt idx="123">
                  <c:v>48489</c:v>
                </c:pt>
                <c:pt idx="124">
                  <c:v>48609</c:v>
                </c:pt>
                <c:pt idx="125">
                  <c:v>48729</c:v>
                </c:pt>
                <c:pt idx="126">
                  <c:v>48859</c:v>
                </c:pt>
                <c:pt idx="127">
                  <c:v>48997</c:v>
                </c:pt>
                <c:pt idx="128">
                  <c:v>49026</c:v>
                </c:pt>
                <c:pt idx="129">
                  <c:v>49056</c:v>
                </c:pt>
                <c:pt idx="130">
                  <c:v>49177</c:v>
                </c:pt>
                <c:pt idx="131">
                  <c:v>49303</c:v>
                </c:pt>
                <c:pt idx="132">
                  <c:v>49399</c:v>
                </c:pt>
                <c:pt idx="133">
                  <c:v>49516</c:v>
                </c:pt>
                <c:pt idx="134">
                  <c:v>49687</c:v>
                </c:pt>
                <c:pt idx="135">
                  <c:v>49749</c:v>
                </c:pt>
                <c:pt idx="136">
                  <c:v>49781</c:v>
                </c:pt>
                <c:pt idx="137">
                  <c:v>49880</c:v>
                </c:pt>
                <c:pt idx="138">
                  <c:v>49995</c:v>
                </c:pt>
                <c:pt idx="139">
                  <c:v>50127</c:v>
                </c:pt>
                <c:pt idx="140">
                  <c:v>50284</c:v>
                </c:pt>
                <c:pt idx="141">
                  <c:v>50412</c:v>
                </c:pt>
                <c:pt idx="142">
                  <c:v>50483</c:v>
                </c:pt>
                <c:pt idx="143">
                  <c:v>50514</c:v>
                </c:pt>
                <c:pt idx="144">
                  <c:v>50597</c:v>
                </c:pt>
                <c:pt idx="145">
                  <c:v>50690</c:v>
                </c:pt>
                <c:pt idx="146">
                  <c:v>50775</c:v>
                </c:pt>
                <c:pt idx="147">
                  <c:v>50875</c:v>
                </c:pt>
                <c:pt idx="148">
                  <c:v>50982</c:v>
                </c:pt>
                <c:pt idx="149">
                  <c:v>51012</c:v>
                </c:pt>
                <c:pt idx="150">
                  <c:v>51027</c:v>
                </c:pt>
                <c:pt idx="151">
                  <c:v>51077</c:v>
                </c:pt>
                <c:pt idx="152">
                  <c:v>51140</c:v>
                </c:pt>
                <c:pt idx="153">
                  <c:v>51232</c:v>
                </c:pt>
                <c:pt idx="154">
                  <c:v>51313</c:v>
                </c:pt>
                <c:pt idx="155">
                  <c:v>51417</c:v>
                </c:pt>
                <c:pt idx="156">
                  <c:v>51454</c:v>
                </c:pt>
                <c:pt idx="157">
                  <c:v>51487</c:v>
                </c:pt>
                <c:pt idx="158">
                  <c:v>51562</c:v>
                </c:pt>
                <c:pt idx="159">
                  <c:v>51644</c:v>
                </c:pt>
                <c:pt idx="160">
                  <c:v>51740</c:v>
                </c:pt>
                <c:pt idx="161">
                  <c:v>51810</c:v>
                </c:pt>
                <c:pt idx="162">
                  <c:v>51907</c:v>
                </c:pt>
                <c:pt idx="163">
                  <c:v>51934</c:v>
                </c:pt>
                <c:pt idx="164">
                  <c:v>51967</c:v>
                </c:pt>
                <c:pt idx="165">
                  <c:v>52048</c:v>
                </c:pt>
                <c:pt idx="166">
                  <c:v>52145</c:v>
                </c:pt>
                <c:pt idx="167">
                  <c:v>52231</c:v>
                </c:pt>
                <c:pt idx="168">
                  <c:v>52318</c:v>
                </c:pt>
                <c:pt idx="169">
                  <c:v>52413</c:v>
                </c:pt>
                <c:pt idx="170">
                  <c:v>52442</c:v>
                </c:pt>
                <c:pt idx="171">
                  <c:v>52472</c:v>
                </c:pt>
                <c:pt idx="172">
                  <c:v>52543</c:v>
                </c:pt>
                <c:pt idx="173">
                  <c:v>52598</c:v>
                </c:pt>
                <c:pt idx="174">
                  <c:v>52673</c:v>
                </c:pt>
                <c:pt idx="175">
                  <c:v>52749</c:v>
                </c:pt>
                <c:pt idx="176">
                  <c:v>52827</c:v>
                </c:pt>
                <c:pt idx="177">
                  <c:v>52855</c:v>
                </c:pt>
                <c:pt idx="178">
                  <c:v>52880</c:v>
                </c:pt>
                <c:pt idx="179">
                  <c:v>52919</c:v>
                </c:pt>
                <c:pt idx="180">
                  <c:v>52969</c:v>
                </c:pt>
                <c:pt idx="181">
                  <c:v>53022</c:v>
                </c:pt>
                <c:pt idx="182">
                  <c:v>53073</c:v>
                </c:pt>
                <c:pt idx="183">
                  <c:v>53129</c:v>
                </c:pt>
                <c:pt idx="184">
                  <c:v>53143</c:v>
                </c:pt>
                <c:pt idx="185">
                  <c:v>53155</c:v>
                </c:pt>
                <c:pt idx="186">
                  <c:v>53199</c:v>
                </c:pt>
                <c:pt idx="187">
                  <c:v>53245</c:v>
                </c:pt>
                <c:pt idx="188">
                  <c:v>53303</c:v>
                </c:pt>
                <c:pt idx="189">
                  <c:v>53347</c:v>
                </c:pt>
                <c:pt idx="190">
                  <c:v>53402</c:v>
                </c:pt>
                <c:pt idx="191">
                  <c:v>53414</c:v>
                </c:pt>
                <c:pt idx="192">
                  <c:v>53426</c:v>
                </c:pt>
                <c:pt idx="193">
                  <c:v>53432</c:v>
                </c:pt>
                <c:pt idx="194">
                  <c:v>53441</c:v>
                </c:pt>
                <c:pt idx="195">
                  <c:v>53481</c:v>
                </c:pt>
                <c:pt idx="196">
                  <c:v>53536</c:v>
                </c:pt>
                <c:pt idx="197">
                  <c:v>53584</c:v>
                </c:pt>
                <c:pt idx="198">
                  <c:v>53599</c:v>
                </c:pt>
                <c:pt idx="199">
                  <c:v>53613</c:v>
                </c:pt>
                <c:pt idx="200">
                  <c:v>53661</c:v>
                </c:pt>
                <c:pt idx="201">
                  <c:v>53704</c:v>
                </c:pt>
                <c:pt idx="202">
                  <c:v>53750</c:v>
                </c:pt>
                <c:pt idx="203">
                  <c:v>53808</c:v>
                </c:pt>
                <c:pt idx="204">
                  <c:v>53863</c:v>
                </c:pt>
                <c:pt idx="205">
                  <c:v>53885</c:v>
                </c:pt>
                <c:pt idx="206">
                  <c:v>53904</c:v>
                </c:pt>
                <c:pt idx="207">
                  <c:v>53953</c:v>
                </c:pt>
                <c:pt idx="208">
                  <c:v>53998</c:v>
                </c:pt>
                <c:pt idx="209">
                  <c:v>54066</c:v>
                </c:pt>
                <c:pt idx="210">
                  <c:v>54104</c:v>
                </c:pt>
                <c:pt idx="211">
                  <c:v>54137</c:v>
                </c:pt>
                <c:pt idx="212">
                  <c:v>54143</c:v>
                </c:pt>
                <c:pt idx="213">
                  <c:v>54152</c:v>
                </c:pt>
                <c:pt idx="214">
                  <c:v>54192</c:v>
                </c:pt>
                <c:pt idx="215">
                  <c:v>54246</c:v>
                </c:pt>
                <c:pt idx="216">
                  <c:v>54281</c:v>
                </c:pt>
                <c:pt idx="217">
                  <c:v>54309</c:v>
                </c:pt>
                <c:pt idx="218">
                  <c:v>54354</c:v>
                </c:pt>
                <c:pt idx="219">
                  <c:v>54371</c:v>
                </c:pt>
                <c:pt idx="220">
                  <c:v>54384</c:v>
                </c:pt>
                <c:pt idx="221">
                  <c:v>54421</c:v>
                </c:pt>
                <c:pt idx="222">
                  <c:v>54447</c:v>
                </c:pt>
                <c:pt idx="223">
                  <c:v>54487</c:v>
                </c:pt>
                <c:pt idx="224">
                  <c:v>54518</c:v>
                </c:pt>
                <c:pt idx="225">
                  <c:v>54551</c:v>
                </c:pt>
                <c:pt idx="226">
                  <c:v>54564</c:v>
                </c:pt>
                <c:pt idx="227">
                  <c:v>54569</c:v>
                </c:pt>
                <c:pt idx="228">
                  <c:v>54591</c:v>
                </c:pt>
                <c:pt idx="229">
                  <c:v>54606</c:v>
                </c:pt>
                <c:pt idx="230">
                  <c:v>54626</c:v>
                </c:pt>
                <c:pt idx="231">
                  <c:v>54649</c:v>
                </c:pt>
                <c:pt idx="232">
                  <c:v>54674</c:v>
                </c:pt>
                <c:pt idx="233">
                  <c:v>54684</c:v>
                </c:pt>
                <c:pt idx="234">
                  <c:v>54689</c:v>
                </c:pt>
                <c:pt idx="235">
                  <c:v>54706</c:v>
                </c:pt>
                <c:pt idx="236">
                  <c:v>54730</c:v>
                </c:pt>
                <c:pt idx="237">
                  <c:v>54752</c:v>
                </c:pt>
                <c:pt idx="238">
                  <c:v>54774</c:v>
                </c:pt>
                <c:pt idx="239">
                  <c:v>54807</c:v>
                </c:pt>
                <c:pt idx="240">
                  <c:v>54817</c:v>
                </c:pt>
                <c:pt idx="241">
                  <c:v>54820</c:v>
                </c:pt>
                <c:pt idx="242">
                  <c:v>54831</c:v>
                </c:pt>
                <c:pt idx="243">
                  <c:v>54860</c:v>
                </c:pt>
                <c:pt idx="244">
                  <c:v>54884</c:v>
                </c:pt>
                <c:pt idx="245">
                  <c:v>54911</c:v>
                </c:pt>
                <c:pt idx="246">
                  <c:v>54939</c:v>
                </c:pt>
                <c:pt idx="247">
                  <c:v>54941</c:v>
                </c:pt>
                <c:pt idx="248">
                  <c:v>54948</c:v>
                </c:pt>
                <c:pt idx="249">
                  <c:v>54969</c:v>
                </c:pt>
                <c:pt idx="250">
                  <c:v>54994</c:v>
                </c:pt>
                <c:pt idx="251">
                  <c:v>55014</c:v>
                </c:pt>
                <c:pt idx="252">
                  <c:v>55042</c:v>
                </c:pt>
                <c:pt idx="253">
                  <c:v>55068</c:v>
                </c:pt>
                <c:pt idx="254">
                  <c:v>55076</c:v>
                </c:pt>
                <c:pt idx="255">
                  <c:v>55081</c:v>
                </c:pt>
                <c:pt idx="256">
                  <c:v>55094</c:v>
                </c:pt>
                <c:pt idx="257">
                  <c:v>55107</c:v>
                </c:pt>
                <c:pt idx="258">
                  <c:v>55126</c:v>
                </c:pt>
                <c:pt idx="259">
                  <c:v>55154</c:v>
                </c:pt>
                <c:pt idx="260">
                  <c:v>55179</c:v>
                </c:pt>
                <c:pt idx="261">
                  <c:v>55181</c:v>
                </c:pt>
                <c:pt idx="262">
                  <c:v>55184</c:v>
                </c:pt>
                <c:pt idx="263">
                  <c:v>55203</c:v>
                </c:pt>
                <c:pt idx="264">
                  <c:v>55221</c:v>
                </c:pt>
                <c:pt idx="265">
                  <c:v>55236</c:v>
                </c:pt>
                <c:pt idx="266">
                  <c:v>55254</c:v>
                </c:pt>
                <c:pt idx="267">
                  <c:v>55279</c:v>
                </c:pt>
                <c:pt idx="268">
                  <c:v>55284</c:v>
                </c:pt>
                <c:pt idx="269">
                  <c:v>55284</c:v>
                </c:pt>
                <c:pt idx="270">
                  <c:v>55304</c:v>
                </c:pt>
                <c:pt idx="271">
                  <c:v>55312</c:v>
                </c:pt>
                <c:pt idx="272">
                  <c:v>55322</c:v>
                </c:pt>
                <c:pt idx="273">
                  <c:v>55346</c:v>
                </c:pt>
                <c:pt idx="274">
                  <c:v>55372</c:v>
                </c:pt>
                <c:pt idx="275">
                  <c:v>55378</c:v>
                </c:pt>
                <c:pt idx="276">
                  <c:v>55378</c:v>
                </c:pt>
                <c:pt idx="277">
                  <c:v>55390</c:v>
                </c:pt>
                <c:pt idx="278">
                  <c:v>55390</c:v>
                </c:pt>
                <c:pt idx="279">
                  <c:v>55407</c:v>
                </c:pt>
                <c:pt idx="280">
                  <c:v>55422</c:v>
                </c:pt>
                <c:pt idx="281">
                  <c:v>55442</c:v>
                </c:pt>
                <c:pt idx="282">
                  <c:v>55448</c:v>
                </c:pt>
                <c:pt idx="283">
                  <c:v>55448</c:v>
                </c:pt>
                <c:pt idx="284">
                  <c:v>55458</c:v>
                </c:pt>
                <c:pt idx="285">
                  <c:v>55465</c:v>
                </c:pt>
                <c:pt idx="286">
                  <c:v>55477</c:v>
                </c:pt>
                <c:pt idx="287">
                  <c:v>55495</c:v>
                </c:pt>
                <c:pt idx="288">
                  <c:v>55509</c:v>
                </c:pt>
                <c:pt idx="289">
                  <c:v>55515</c:v>
                </c:pt>
                <c:pt idx="290">
                  <c:v>55515</c:v>
                </c:pt>
                <c:pt idx="291">
                  <c:v>55534</c:v>
                </c:pt>
                <c:pt idx="292">
                  <c:v>55550</c:v>
                </c:pt>
                <c:pt idx="293">
                  <c:v>55557</c:v>
                </c:pt>
                <c:pt idx="294">
                  <c:v>55567</c:v>
                </c:pt>
                <c:pt idx="295">
                  <c:v>55584</c:v>
                </c:pt>
                <c:pt idx="296">
                  <c:v>55586</c:v>
                </c:pt>
                <c:pt idx="297">
                  <c:v>55588</c:v>
                </c:pt>
                <c:pt idx="298">
                  <c:v>55609</c:v>
                </c:pt>
                <c:pt idx="299">
                  <c:v>55615</c:v>
                </c:pt>
                <c:pt idx="300">
                  <c:v>55629</c:v>
                </c:pt>
                <c:pt idx="301">
                  <c:v>55654</c:v>
                </c:pt>
                <c:pt idx="302">
                  <c:v>55693</c:v>
                </c:pt>
                <c:pt idx="303">
                  <c:v>55700</c:v>
                </c:pt>
                <c:pt idx="304">
                  <c:v>55706</c:v>
                </c:pt>
                <c:pt idx="305">
                  <c:v>55727</c:v>
                </c:pt>
                <c:pt idx="306">
                  <c:v>55762</c:v>
                </c:pt>
                <c:pt idx="307">
                  <c:v>55806</c:v>
                </c:pt>
                <c:pt idx="308">
                  <c:v>55813</c:v>
                </c:pt>
                <c:pt idx="309">
                  <c:v>55848</c:v>
                </c:pt>
                <c:pt idx="310">
                  <c:v>55860</c:v>
                </c:pt>
                <c:pt idx="311">
                  <c:v>55863</c:v>
                </c:pt>
                <c:pt idx="312">
                  <c:v>55902</c:v>
                </c:pt>
                <c:pt idx="313">
                  <c:v>55940</c:v>
                </c:pt>
                <c:pt idx="314">
                  <c:v>55974</c:v>
                </c:pt>
                <c:pt idx="315">
                  <c:v>56032</c:v>
                </c:pt>
                <c:pt idx="316">
                  <c:v>56095</c:v>
                </c:pt>
                <c:pt idx="317">
                  <c:v>56118</c:v>
                </c:pt>
                <c:pt idx="318">
                  <c:v>56133</c:v>
                </c:pt>
                <c:pt idx="319">
                  <c:v>56162</c:v>
                </c:pt>
                <c:pt idx="320">
                  <c:v>56198</c:v>
                </c:pt>
                <c:pt idx="321">
                  <c:v>56228</c:v>
                </c:pt>
                <c:pt idx="322">
                  <c:v>56259</c:v>
                </c:pt>
                <c:pt idx="323">
                  <c:v>56321</c:v>
                </c:pt>
                <c:pt idx="324">
                  <c:v>56332</c:v>
                </c:pt>
                <c:pt idx="325">
                  <c:v>56338</c:v>
                </c:pt>
                <c:pt idx="326">
                  <c:v>56381</c:v>
                </c:pt>
                <c:pt idx="327">
                  <c:v>56434</c:v>
                </c:pt>
                <c:pt idx="328">
                  <c:v>56447</c:v>
                </c:pt>
                <c:pt idx="329">
                  <c:v>56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Z$1</c:f>
              <c:strCache>
                <c:ptCount val="12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</c:strCache>
            </c:strRef>
          </c:cat>
          <c:val>
            <c:numRef>
              <c:f>List1!$O$2:$Z$2</c:f>
              <c:numCache>
                <c:formatCode>General</c:formatCode>
                <c:ptCount val="12"/>
                <c:pt idx="0">
                  <c:v>8.4744565000000005</c:v>
                </c:pt>
                <c:pt idx="1">
                  <c:v>19.1686446</c:v>
                </c:pt>
                <c:pt idx="2">
                  <c:v>32.055878399999997</c:v>
                </c:pt>
                <c:pt idx="3">
                  <c:v>52.451916699999998</c:v>
                </c:pt>
                <c:pt idx="4">
                  <c:v>57.918460799999998</c:v>
                </c:pt>
                <c:pt idx="5">
                  <c:v>106.3987243</c:v>
                </c:pt>
                <c:pt idx="6">
                  <c:v>201.72822210000001</c:v>
                </c:pt>
                <c:pt idx="7">
                  <c:v>288.8046387</c:v>
                </c:pt>
                <c:pt idx="8">
                  <c:v>291.33649919999999</c:v>
                </c:pt>
                <c:pt idx="9">
                  <c:v>215.96829489999999</c:v>
                </c:pt>
                <c:pt idx="10">
                  <c:v>125.749769</c:v>
                </c:pt>
                <c:pt idx="11">
                  <c:v>94.0027366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Z$1</c:f>
              <c:strCache>
                <c:ptCount val="12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</c:strCache>
            </c:strRef>
          </c:cat>
          <c:val>
            <c:numRef>
              <c:f>List1!$O$3:$Z$3</c:f>
              <c:numCache>
                <c:formatCode>General</c:formatCode>
                <c:ptCount val="12"/>
                <c:pt idx="0">
                  <c:v>3.0582145000000001</c:v>
                </c:pt>
                <c:pt idx="1">
                  <c:v>1.9425774</c:v>
                </c:pt>
                <c:pt idx="2">
                  <c:v>3.5998215999999998</c:v>
                </c:pt>
                <c:pt idx="3">
                  <c:v>3.3157689000000001</c:v>
                </c:pt>
                <c:pt idx="4">
                  <c:v>7.4443533999999998</c:v>
                </c:pt>
                <c:pt idx="5">
                  <c:v>5.7828777000000002</c:v>
                </c:pt>
                <c:pt idx="6">
                  <c:v>9.6378906000000004</c:v>
                </c:pt>
                <c:pt idx="7">
                  <c:v>21.478136299999999</c:v>
                </c:pt>
                <c:pt idx="8">
                  <c:v>36.897320800000003</c:v>
                </c:pt>
                <c:pt idx="9">
                  <c:v>63.8863263</c:v>
                </c:pt>
                <c:pt idx="10">
                  <c:v>74.654413399999996</c:v>
                </c:pt>
                <c:pt idx="11">
                  <c:v>87.0861684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2</c:f>
              <c:numCache>
                <c:formatCode>m/d/yyyy</c:formatCode>
                <c:ptCount val="15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70</c:v>
                </c:pt>
                <c:pt idx="5">
                  <c:v>44371</c:v>
                </c:pt>
                <c:pt idx="6">
                  <c:v>44373</c:v>
                </c:pt>
                <c:pt idx="7">
                  <c:v>44374</c:v>
                </c:pt>
                <c:pt idx="8">
                  <c:v>44375</c:v>
                </c:pt>
                <c:pt idx="9">
                  <c:v>44376</c:v>
                </c:pt>
                <c:pt idx="10">
                  <c:v>44378</c:v>
                </c:pt>
                <c:pt idx="11">
                  <c:v>44379</c:v>
                </c:pt>
                <c:pt idx="12">
                  <c:v>44381</c:v>
                </c:pt>
                <c:pt idx="13">
                  <c:v>44382</c:v>
                </c:pt>
                <c:pt idx="14">
                  <c:v>44383</c:v>
                </c:pt>
                <c:pt idx="15">
                  <c:v>44384</c:v>
                </c:pt>
                <c:pt idx="16">
                  <c:v>44385</c:v>
                </c:pt>
                <c:pt idx="17">
                  <c:v>44386</c:v>
                </c:pt>
                <c:pt idx="18">
                  <c:v>44387</c:v>
                </c:pt>
                <c:pt idx="19">
                  <c:v>44389</c:v>
                </c:pt>
                <c:pt idx="20">
                  <c:v>44390</c:v>
                </c:pt>
                <c:pt idx="21">
                  <c:v>44391</c:v>
                </c:pt>
                <c:pt idx="22">
                  <c:v>44392</c:v>
                </c:pt>
                <c:pt idx="23">
                  <c:v>44393</c:v>
                </c:pt>
                <c:pt idx="24">
                  <c:v>44394</c:v>
                </c:pt>
                <c:pt idx="25">
                  <c:v>44395</c:v>
                </c:pt>
                <c:pt idx="26">
                  <c:v>44396</c:v>
                </c:pt>
                <c:pt idx="27">
                  <c:v>44397</c:v>
                </c:pt>
                <c:pt idx="28">
                  <c:v>44398</c:v>
                </c:pt>
                <c:pt idx="29">
                  <c:v>44399</c:v>
                </c:pt>
                <c:pt idx="30">
                  <c:v>44400</c:v>
                </c:pt>
                <c:pt idx="31">
                  <c:v>44401</c:v>
                </c:pt>
                <c:pt idx="32">
                  <c:v>44402</c:v>
                </c:pt>
                <c:pt idx="33">
                  <c:v>44403</c:v>
                </c:pt>
                <c:pt idx="34">
                  <c:v>44404</c:v>
                </c:pt>
                <c:pt idx="35">
                  <c:v>44405</c:v>
                </c:pt>
                <c:pt idx="36">
                  <c:v>44406</c:v>
                </c:pt>
                <c:pt idx="37">
                  <c:v>44407</c:v>
                </c:pt>
                <c:pt idx="38">
                  <c:v>44408</c:v>
                </c:pt>
                <c:pt idx="39">
                  <c:v>44409</c:v>
                </c:pt>
                <c:pt idx="40">
                  <c:v>44410</c:v>
                </c:pt>
                <c:pt idx="41">
                  <c:v>44411</c:v>
                </c:pt>
                <c:pt idx="42">
                  <c:v>44412</c:v>
                </c:pt>
                <c:pt idx="43">
                  <c:v>44413</c:v>
                </c:pt>
                <c:pt idx="44">
                  <c:v>44414</c:v>
                </c:pt>
                <c:pt idx="45">
                  <c:v>44415</c:v>
                </c:pt>
                <c:pt idx="46">
                  <c:v>44416</c:v>
                </c:pt>
                <c:pt idx="47">
                  <c:v>44417</c:v>
                </c:pt>
                <c:pt idx="48">
                  <c:v>44418</c:v>
                </c:pt>
                <c:pt idx="49">
                  <c:v>44419</c:v>
                </c:pt>
                <c:pt idx="50">
                  <c:v>44420</c:v>
                </c:pt>
                <c:pt idx="51">
                  <c:v>44421</c:v>
                </c:pt>
                <c:pt idx="52">
                  <c:v>44422</c:v>
                </c:pt>
                <c:pt idx="53">
                  <c:v>44423</c:v>
                </c:pt>
                <c:pt idx="54">
                  <c:v>44424</c:v>
                </c:pt>
                <c:pt idx="55">
                  <c:v>44425</c:v>
                </c:pt>
                <c:pt idx="56">
                  <c:v>44426</c:v>
                </c:pt>
                <c:pt idx="57">
                  <c:v>44427</c:v>
                </c:pt>
                <c:pt idx="58">
                  <c:v>44428</c:v>
                </c:pt>
                <c:pt idx="59">
                  <c:v>44429</c:v>
                </c:pt>
                <c:pt idx="60">
                  <c:v>44430</c:v>
                </c:pt>
                <c:pt idx="61">
                  <c:v>44431</c:v>
                </c:pt>
                <c:pt idx="62">
                  <c:v>44432</c:v>
                </c:pt>
                <c:pt idx="63">
                  <c:v>44433</c:v>
                </c:pt>
                <c:pt idx="64">
                  <c:v>44434</c:v>
                </c:pt>
                <c:pt idx="65">
                  <c:v>44435</c:v>
                </c:pt>
                <c:pt idx="66">
                  <c:v>44436</c:v>
                </c:pt>
                <c:pt idx="67">
                  <c:v>44437</c:v>
                </c:pt>
                <c:pt idx="68">
                  <c:v>44438</c:v>
                </c:pt>
                <c:pt idx="69">
                  <c:v>44439</c:v>
                </c:pt>
                <c:pt idx="70">
                  <c:v>44440</c:v>
                </c:pt>
                <c:pt idx="71">
                  <c:v>44441</c:v>
                </c:pt>
                <c:pt idx="72">
                  <c:v>44442</c:v>
                </c:pt>
                <c:pt idx="73">
                  <c:v>44443</c:v>
                </c:pt>
                <c:pt idx="74">
                  <c:v>44444</c:v>
                </c:pt>
                <c:pt idx="75">
                  <c:v>44445</c:v>
                </c:pt>
                <c:pt idx="76">
                  <c:v>44446</c:v>
                </c:pt>
                <c:pt idx="77">
                  <c:v>44447</c:v>
                </c:pt>
                <c:pt idx="78">
                  <c:v>44448</c:v>
                </c:pt>
                <c:pt idx="79">
                  <c:v>44449</c:v>
                </c:pt>
                <c:pt idx="80">
                  <c:v>44450</c:v>
                </c:pt>
                <c:pt idx="81">
                  <c:v>44451</c:v>
                </c:pt>
                <c:pt idx="82">
                  <c:v>44452</c:v>
                </c:pt>
                <c:pt idx="83">
                  <c:v>44453</c:v>
                </c:pt>
                <c:pt idx="84">
                  <c:v>44454</c:v>
                </c:pt>
                <c:pt idx="85">
                  <c:v>44455</c:v>
                </c:pt>
                <c:pt idx="86">
                  <c:v>44456</c:v>
                </c:pt>
                <c:pt idx="87">
                  <c:v>44457</c:v>
                </c:pt>
                <c:pt idx="88">
                  <c:v>44458</c:v>
                </c:pt>
                <c:pt idx="89">
                  <c:v>44459</c:v>
                </c:pt>
                <c:pt idx="90">
                  <c:v>44460</c:v>
                </c:pt>
                <c:pt idx="91">
                  <c:v>44461</c:v>
                </c:pt>
                <c:pt idx="92">
                  <c:v>44462</c:v>
                </c:pt>
                <c:pt idx="93">
                  <c:v>44463</c:v>
                </c:pt>
                <c:pt idx="94">
                  <c:v>44464</c:v>
                </c:pt>
                <c:pt idx="95">
                  <c:v>44465</c:v>
                </c:pt>
                <c:pt idx="96">
                  <c:v>44466</c:v>
                </c:pt>
                <c:pt idx="97">
                  <c:v>44467</c:v>
                </c:pt>
                <c:pt idx="98">
                  <c:v>44468</c:v>
                </c:pt>
                <c:pt idx="99">
                  <c:v>44469</c:v>
                </c:pt>
                <c:pt idx="100">
                  <c:v>44470</c:v>
                </c:pt>
                <c:pt idx="101">
                  <c:v>44471</c:v>
                </c:pt>
                <c:pt idx="102">
                  <c:v>44472</c:v>
                </c:pt>
                <c:pt idx="103">
                  <c:v>44473</c:v>
                </c:pt>
                <c:pt idx="104">
                  <c:v>44474</c:v>
                </c:pt>
                <c:pt idx="105">
                  <c:v>44475</c:v>
                </c:pt>
                <c:pt idx="106">
                  <c:v>44476</c:v>
                </c:pt>
                <c:pt idx="107">
                  <c:v>44477</c:v>
                </c:pt>
                <c:pt idx="108">
                  <c:v>44478</c:v>
                </c:pt>
                <c:pt idx="109">
                  <c:v>44479</c:v>
                </c:pt>
                <c:pt idx="110">
                  <c:v>44480</c:v>
                </c:pt>
                <c:pt idx="111">
                  <c:v>44481</c:v>
                </c:pt>
                <c:pt idx="112">
                  <c:v>44482</c:v>
                </c:pt>
                <c:pt idx="113">
                  <c:v>44483</c:v>
                </c:pt>
                <c:pt idx="114">
                  <c:v>44484</c:v>
                </c:pt>
                <c:pt idx="115">
                  <c:v>44485</c:v>
                </c:pt>
                <c:pt idx="116">
                  <c:v>44486</c:v>
                </c:pt>
                <c:pt idx="117">
                  <c:v>44487</c:v>
                </c:pt>
                <c:pt idx="118">
                  <c:v>44488</c:v>
                </c:pt>
                <c:pt idx="119">
                  <c:v>44489</c:v>
                </c:pt>
                <c:pt idx="120">
                  <c:v>44490</c:v>
                </c:pt>
                <c:pt idx="121">
                  <c:v>44491</c:v>
                </c:pt>
                <c:pt idx="122">
                  <c:v>44492</c:v>
                </c:pt>
                <c:pt idx="123">
                  <c:v>44493</c:v>
                </c:pt>
                <c:pt idx="124">
                  <c:v>44494</c:v>
                </c:pt>
                <c:pt idx="125">
                  <c:v>44495</c:v>
                </c:pt>
                <c:pt idx="126">
                  <c:v>44496</c:v>
                </c:pt>
                <c:pt idx="127">
                  <c:v>44497</c:v>
                </c:pt>
                <c:pt idx="128">
                  <c:v>44498</c:v>
                </c:pt>
                <c:pt idx="129">
                  <c:v>44499</c:v>
                </c:pt>
                <c:pt idx="130">
                  <c:v>44500</c:v>
                </c:pt>
                <c:pt idx="131">
                  <c:v>44501</c:v>
                </c:pt>
                <c:pt idx="132">
                  <c:v>44502</c:v>
                </c:pt>
                <c:pt idx="133">
                  <c:v>44503</c:v>
                </c:pt>
                <c:pt idx="134">
                  <c:v>44504</c:v>
                </c:pt>
                <c:pt idx="135">
                  <c:v>44505</c:v>
                </c:pt>
                <c:pt idx="136">
                  <c:v>44506</c:v>
                </c:pt>
                <c:pt idx="137">
                  <c:v>44507</c:v>
                </c:pt>
                <c:pt idx="138">
                  <c:v>44508</c:v>
                </c:pt>
                <c:pt idx="139">
                  <c:v>44509</c:v>
                </c:pt>
                <c:pt idx="140">
                  <c:v>44510</c:v>
                </c:pt>
                <c:pt idx="141">
                  <c:v>44511</c:v>
                </c:pt>
                <c:pt idx="142">
                  <c:v>44512</c:v>
                </c:pt>
                <c:pt idx="143">
                  <c:v>44513</c:v>
                </c:pt>
                <c:pt idx="144">
                  <c:v>44514</c:v>
                </c:pt>
                <c:pt idx="145">
                  <c:v>44515</c:v>
                </c:pt>
                <c:pt idx="146">
                  <c:v>44516</c:v>
                </c:pt>
                <c:pt idx="147">
                  <c:v>44517</c:v>
                </c:pt>
                <c:pt idx="148">
                  <c:v>44518</c:v>
                </c:pt>
              </c:numCache>
            </c:numRef>
          </c:cat>
          <c:val>
            <c:numRef>
              <c:f>Sheet1!$B$135:$B$292</c:f>
              <c:numCache>
                <c:formatCode>General</c:formatCode>
                <c:ptCount val="158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2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4</c:v>
                </c:pt>
                <c:pt idx="17">
                  <c:v>4</c:v>
                </c:pt>
                <c:pt idx="18">
                  <c:v>0</c:v>
                </c:pt>
                <c:pt idx="19">
                  <c:v>3</c:v>
                </c:pt>
                <c:pt idx="20">
                  <c:v>0</c:v>
                </c:pt>
                <c:pt idx="21">
                  <c:v>4</c:v>
                </c:pt>
                <c:pt idx="22">
                  <c:v>2</c:v>
                </c:pt>
                <c:pt idx="23">
                  <c:v>5</c:v>
                </c:pt>
                <c:pt idx="24">
                  <c:v>1</c:v>
                </c:pt>
                <c:pt idx="25">
                  <c:v>1</c:v>
                </c:pt>
                <c:pt idx="26">
                  <c:v>3</c:v>
                </c:pt>
                <c:pt idx="27">
                  <c:v>5</c:v>
                </c:pt>
                <c:pt idx="28">
                  <c:v>1</c:v>
                </c:pt>
                <c:pt idx="29">
                  <c:v>3</c:v>
                </c:pt>
                <c:pt idx="30">
                  <c:v>2</c:v>
                </c:pt>
                <c:pt idx="31">
                  <c:v>0</c:v>
                </c:pt>
                <c:pt idx="32">
                  <c:v>1</c:v>
                </c:pt>
                <c:pt idx="33">
                  <c:v>3</c:v>
                </c:pt>
                <c:pt idx="34">
                  <c:v>4</c:v>
                </c:pt>
                <c:pt idx="35">
                  <c:v>1</c:v>
                </c:pt>
                <c:pt idx="36">
                  <c:v>4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4</c:v>
                </c:pt>
                <c:pt idx="42">
                  <c:v>3</c:v>
                </c:pt>
                <c:pt idx="43">
                  <c:v>1</c:v>
                </c:pt>
                <c:pt idx="44">
                  <c:v>3</c:v>
                </c:pt>
                <c:pt idx="45">
                  <c:v>1</c:v>
                </c:pt>
                <c:pt idx="46">
                  <c:v>0</c:v>
                </c:pt>
                <c:pt idx="47">
                  <c:v>8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6</c:v>
                </c:pt>
                <c:pt idx="52">
                  <c:v>2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0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3</c:v>
                </c:pt>
                <c:pt idx="63">
                  <c:v>5</c:v>
                </c:pt>
                <c:pt idx="64">
                  <c:v>2</c:v>
                </c:pt>
                <c:pt idx="65">
                  <c:v>2</c:v>
                </c:pt>
                <c:pt idx="66">
                  <c:v>0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3</c:v>
                </c:pt>
                <c:pt idx="71">
                  <c:v>5</c:v>
                </c:pt>
                <c:pt idx="72">
                  <c:v>6</c:v>
                </c:pt>
                <c:pt idx="73">
                  <c:v>5</c:v>
                </c:pt>
                <c:pt idx="74">
                  <c:v>1</c:v>
                </c:pt>
                <c:pt idx="75">
                  <c:v>5</c:v>
                </c:pt>
                <c:pt idx="76">
                  <c:v>4</c:v>
                </c:pt>
                <c:pt idx="77">
                  <c:v>1</c:v>
                </c:pt>
                <c:pt idx="78">
                  <c:v>3</c:v>
                </c:pt>
                <c:pt idx="79">
                  <c:v>2</c:v>
                </c:pt>
                <c:pt idx="80">
                  <c:v>0</c:v>
                </c:pt>
                <c:pt idx="81">
                  <c:v>3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7</c:v>
                </c:pt>
                <c:pt idx="86">
                  <c:v>4</c:v>
                </c:pt>
                <c:pt idx="87">
                  <c:v>2</c:v>
                </c:pt>
                <c:pt idx="88">
                  <c:v>6</c:v>
                </c:pt>
                <c:pt idx="89">
                  <c:v>8</c:v>
                </c:pt>
                <c:pt idx="90">
                  <c:v>9</c:v>
                </c:pt>
                <c:pt idx="91">
                  <c:v>8</c:v>
                </c:pt>
                <c:pt idx="92">
                  <c:v>7</c:v>
                </c:pt>
                <c:pt idx="93">
                  <c:v>5</c:v>
                </c:pt>
                <c:pt idx="94">
                  <c:v>4</c:v>
                </c:pt>
                <c:pt idx="95">
                  <c:v>2</c:v>
                </c:pt>
                <c:pt idx="96">
                  <c:v>7</c:v>
                </c:pt>
                <c:pt idx="97">
                  <c:v>6</c:v>
                </c:pt>
                <c:pt idx="98">
                  <c:v>9</c:v>
                </c:pt>
                <c:pt idx="99">
                  <c:v>12</c:v>
                </c:pt>
                <c:pt idx="100">
                  <c:v>11</c:v>
                </c:pt>
                <c:pt idx="101">
                  <c:v>4</c:v>
                </c:pt>
                <c:pt idx="102">
                  <c:v>7</c:v>
                </c:pt>
                <c:pt idx="103">
                  <c:v>8</c:v>
                </c:pt>
                <c:pt idx="104">
                  <c:v>13</c:v>
                </c:pt>
                <c:pt idx="105">
                  <c:v>13</c:v>
                </c:pt>
                <c:pt idx="106">
                  <c:v>16</c:v>
                </c:pt>
                <c:pt idx="107">
                  <c:v>10</c:v>
                </c:pt>
                <c:pt idx="108">
                  <c:v>8</c:v>
                </c:pt>
                <c:pt idx="109">
                  <c:v>5</c:v>
                </c:pt>
                <c:pt idx="110">
                  <c:v>19</c:v>
                </c:pt>
                <c:pt idx="111">
                  <c:v>31</c:v>
                </c:pt>
                <c:pt idx="112">
                  <c:v>18</c:v>
                </c:pt>
                <c:pt idx="113">
                  <c:v>20</c:v>
                </c:pt>
                <c:pt idx="114">
                  <c:v>14</c:v>
                </c:pt>
                <c:pt idx="115">
                  <c:v>9</c:v>
                </c:pt>
                <c:pt idx="116">
                  <c:v>13</c:v>
                </c:pt>
                <c:pt idx="117">
                  <c:v>39</c:v>
                </c:pt>
                <c:pt idx="118">
                  <c:v>55</c:v>
                </c:pt>
                <c:pt idx="119">
                  <c:v>50</c:v>
                </c:pt>
                <c:pt idx="120">
                  <c:v>54</c:v>
                </c:pt>
                <c:pt idx="121">
                  <c:v>46</c:v>
                </c:pt>
                <c:pt idx="122">
                  <c:v>28</c:v>
                </c:pt>
                <c:pt idx="123">
                  <c:v>21</c:v>
                </c:pt>
                <c:pt idx="124">
                  <c:v>78</c:v>
                </c:pt>
                <c:pt idx="125">
                  <c:v>86</c:v>
                </c:pt>
                <c:pt idx="126">
                  <c:v>64</c:v>
                </c:pt>
                <c:pt idx="127">
                  <c:v>41</c:v>
                </c:pt>
                <c:pt idx="128">
                  <c:v>82</c:v>
                </c:pt>
                <c:pt idx="129">
                  <c:v>54</c:v>
                </c:pt>
                <c:pt idx="130">
                  <c:v>42</c:v>
                </c:pt>
                <c:pt idx="131">
                  <c:v>135</c:v>
                </c:pt>
                <c:pt idx="132">
                  <c:v>129</c:v>
                </c:pt>
                <c:pt idx="133">
                  <c:v>105</c:v>
                </c:pt>
                <c:pt idx="134">
                  <c:v>114</c:v>
                </c:pt>
                <c:pt idx="135">
                  <c:v>132</c:v>
                </c:pt>
                <c:pt idx="136">
                  <c:v>55</c:v>
                </c:pt>
                <c:pt idx="137">
                  <c:v>39</c:v>
                </c:pt>
                <c:pt idx="138">
                  <c:v>129</c:v>
                </c:pt>
                <c:pt idx="139">
                  <c:v>149</c:v>
                </c:pt>
                <c:pt idx="140">
                  <c:v>143</c:v>
                </c:pt>
                <c:pt idx="141">
                  <c:v>121</c:v>
                </c:pt>
                <c:pt idx="142">
                  <c:v>170</c:v>
                </c:pt>
                <c:pt idx="143">
                  <c:v>96</c:v>
                </c:pt>
                <c:pt idx="144">
                  <c:v>52</c:v>
                </c:pt>
                <c:pt idx="145">
                  <c:v>164</c:v>
                </c:pt>
                <c:pt idx="146">
                  <c:v>183</c:v>
                </c:pt>
                <c:pt idx="147">
                  <c:v>128</c:v>
                </c:pt>
                <c:pt idx="148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Z$1</c:f>
              <c:strCache>
                <c:ptCount val="12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</c:strCache>
            </c:strRef>
          </c:cat>
          <c:val>
            <c:numRef>
              <c:f>List1!$O$2:$Z$2</c:f>
              <c:numCache>
                <c:formatCode>General</c:formatCode>
                <c:ptCount val="12"/>
                <c:pt idx="0">
                  <c:v>10.1531146</c:v>
                </c:pt>
                <c:pt idx="1">
                  <c:v>14.227957200000001</c:v>
                </c:pt>
                <c:pt idx="2">
                  <c:v>32.077435999999999</c:v>
                </c:pt>
                <c:pt idx="3">
                  <c:v>40.6075108</c:v>
                </c:pt>
                <c:pt idx="4">
                  <c:v>56.132393800000003</c:v>
                </c:pt>
                <c:pt idx="5">
                  <c:v>107.35011969999999</c:v>
                </c:pt>
                <c:pt idx="6">
                  <c:v>216.85293050000001</c:v>
                </c:pt>
                <c:pt idx="7">
                  <c:v>359.40838860000002</c:v>
                </c:pt>
                <c:pt idx="8">
                  <c:v>448.43675780000001</c:v>
                </c:pt>
                <c:pt idx="9">
                  <c:v>383.9122486</c:v>
                </c:pt>
                <c:pt idx="10">
                  <c:v>250.9399793</c:v>
                </c:pt>
                <c:pt idx="11">
                  <c:v>179.7970005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FA-4D94-A4CE-CDB0E0CDD4B1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Z$1</c:f>
              <c:strCache>
                <c:ptCount val="12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</c:strCache>
            </c:strRef>
          </c:cat>
          <c:val>
            <c:numRef>
              <c:f>List1!$O$3:$Z$3</c:f>
              <c:numCache>
                <c:formatCode>General</c:formatCode>
                <c:ptCount val="12"/>
                <c:pt idx="0">
                  <c:v>1.6550742000000001</c:v>
                </c:pt>
                <c:pt idx="1">
                  <c:v>2.7570348999999998</c:v>
                </c:pt>
                <c:pt idx="2">
                  <c:v>2.7549917000000002</c:v>
                </c:pt>
                <c:pt idx="3">
                  <c:v>5.0929953000000001</c:v>
                </c:pt>
                <c:pt idx="4">
                  <c:v>8.1152418999999991</c:v>
                </c:pt>
                <c:pt idx="5">
                  <c:v>8.1125860999999997</c:v>
                </c:pt>
                <c:pt idx="6">
                  <c:v>12.2395485</c:v>
                </c:pt>
                <c:pt idx="7">
                  <c:v>22.832494700000002</c:v>
                </c:pt>
                <c:pt idx="8">
                  <c:v>41.820282800000001</c:v>
                </c:pt>
                <c:pt idx="9">
                  <c:v>78.843735199999998</c:v>
                </c:pt>
                <c:pt idx="10">
                  <c:v>98.292680899999993</c:v>
                </c:pt>
                <c:pt idx="11">
                  <c:v>121.20627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4FA-4D94-A4CE-CDB0E0CDD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2</c:f>
              <c:numCache>
                <c:formatCode>m/d/yyyy</c:formatCode>
                <c:ptCount val="15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70</c:v>
                </c:pt>
                <c:pt idx="5">
                  <c:v>44371</c:v>
                </c:pt>
                <c:pt idx="6">
                  <c:v>44373</c:v>
                </c:pt>
                <c:pt idx="7">
                  <c:v>44374</c:v>
                </c:pt>
                <c:pt idx="8">
                  <c:v>44375</c:v>
                </c:pt>
                <c:pt idx="9">
                  <c:v>44376</c:v>
                </c:pt>
                <c:pt idx="10">
                  <c:v>44378</c:v>
                </c:pt>
                <c:pt idx="11">
                  <c:v>44379</c:v>
                </c:pt>
                <c:pt idx="12">
                  <c:v>44381</c:v>
                </c:pt>
                <c:pt idx="13">
                  <c:v>44382</c:v>
                </c:pt>
                <c:pt idx="14">
                  <c:v>44383</c:v>
                </c:pt>
                <c:pt idx="15">
                  <c:v>44384</c:v>
                </c:pt>
                <c:pt idx="16">
                  <c:v>44385</c:v>
                </c:pt>
                <c:pt idx="17">
                  <c:v>44386</c:v>
                </c:pt>
                <c:pt idx="18">
                  <c:v>44387</c:v>
                </c:pt>
                <c:pt idx="19">
                  <c:v>44389</c:v>
                </c:pt>
                <c:pt idx="20">
                  <c:v>44390</c:v>
                </c:pt>
                <c:pt idx="21">
                  <c:v>44391</c:v>
                </c:pt>
                <c:pt idx="22">
                  <c:v>44392</c:v>
                </c:pt>
                <c:pt idx="23">
                  <c:v>44393</c:v>
                </c:pt>
                <c:pt idx="24">
                  <c:v>44394</c:v>
                </c:pt>
                <c:pt idx="25">
                  <c:v>44395</c:v>
                </c:pt>
                <c:pt idx="26">
                  <c:v>44396</c:v>
                </c:pt>
                <c:pt idx="27">
                  <c:v>44397</c:v>
                </c:pt>
                <c:pt idx="28">
                  <c:v>44398</c:v>
                </c:pt>
                <c:pt idx="29">
                  <c:v>44399</c:v>
                </c:pt>
                <c:pt idx="30">
                  <c:v>44400</c:v>
                </c:pt>
                <c:pt idx="31">
                  <c:v>44401</c:v>
                </c:pt>
                <c:pt idx="32">
                  <c:v>44402</c:v>
                </c:pt>
                <c:pt idx="33">
                  <c:v>44403</c:v>
                </c:pt>
                <c:pt idx="34">
                  <c:v>44404</c:v>
                </c:pt>
                <c:pt idx="35">
                  <c:v>44405</c:v>
                </c:pt>
                <c:pt idx="36">
                  <c:v>44406</c:v>
                </c:pt>
                <c:pt idx="37">
                  <c:v>44407</c:v>
                </c:pt>
                <c:pt idx="38">
                  <c:v>44408</c:v>
                </c:pt>
                <c:pt idx="39">
                  <c:v>44409</c:v>
                </c:pt>
                <c:pt idx="40">
                  <c:v>44410</c:v>
                </c:pt>
                <c:pt idx="41">
                  <c:v>44411</c:v>
                </c:pt>
                <c:pt idx="42">
                  <c:v>44412</c:v>
                </c:pt>
                <c:pt idx="43">
                  <c:v>44413</c:v>
                </c:pt>
                <c:pt idx="44">
                  <c:v>44414</c:v>
                </c:pt>
                <c:pt idx="45">
                  <c:v>44415</c:v>
                </c:pt>
                <c:pt idx="46">
                  <c:v>44416</c:v>
                </c:pt>
                <c:pt idx="47">
                  <c:v>44417</c:v>
                </c:pt>
                <c:pt idx="48">
                  <c:v>44418</c:v>
                </c:pt>
                <c:pt idx="49">
                  <c:v>44419</c:v>
                </c:pt>
                <c:pt idx="50">
                  <c:v>44420</c:v>
                </c:pt>
                <c:pt idx="51">
                  <c:v>44421</c:v>
                </c:pt>
                <c:pt idx="52">
                  <c:v>44422</c:v>
                </c:pt>
                <c:pt idx="53">
                  <c:v>44423</c:v>
                </c:pt>
                <c:pt idx="54">
                  <c:v>44424</c:v>
                </c:pt>
                <c:pt idx="55">
                  <c:v>44425</c:v>
                </c:pt>
                <c:pt idx="56">
                  <c:v>44426</c:v>
                </c:pt>
                <c:pt idx="57">
                  <c:v>44427</c:v>
                </c:pt>
                <c:pt idx="58">
                  <c:v>44428</c:v>
                </c:pt>
                <c:pt idx="59">
                  <c:v>44429</c:v>
                </c:pt>
                <c:pt idx="60">
                  <c:v>44430</c:v>
                </c:pt>
                <c:pt idx="61">
                  <c:v>44431</c:v>
                </c:pt>
                <c:pt idx="62">
                  <c:v>44432</c:v>
                </c:pt>
                <c:pt idx="63">
                  <c:v>44433</c:v>
                </c:pt>
                <c:pt idx="64">
                  <c:v>44434</c:v>
                </c:pt>
                <c:pt idx="65">
                  <c:v>44435</c:v>
                </c:pt>
                <c:pt idx="66">
                  <c:v>44436</c:v>
                </c:pt>
                <c:pt idx="67">
                  <c:v>44437</c:v>
                </c:pt>
                <c:pt idx="68">
                  <c:v>44438</c:v>
                </c:pt>
                <c:pt idx="69">
                  <c:v>44439</c:v>
                </c:pt>
                <c:pt idx="70">
                  <c:v>44440</c:v>
                </c:pt>
                <c:pt idx="71">
                  <c:v>44441</c:v>
                </c:pt>
                <c:pt idx="72">
                  <c:v>44442</c:v>
                </c:pt>
                <c:pt idx="73">
                  <c:v>44443</c:v>
                </c:pt>
                <c:pt idx="74">
                  <c:v>44444</c:v>
                </c:pt>
                <c:pt idx="75">
                  <c:v>44445</c:v>
                </c:pt>
                <c:pt idx="76">
                  <c:v>44446</c:v>
                </c:pt>
                <c:pt idx="77">
                  <c:v>44447</c:v>
                </c:pt>
                <c:pt idx="78">
                  <c:v>44448</c:v>
                </c:pt>
                <c:pt idx="79">
                  <c:v>44449</c:v>
                </c:pt>
                <c:pt idx="80">
                  <c:v>44450</c:v>
                </c:pt>
                <c:pt idx="81">
                  <c:v>44451</c:v>
                </c:pt>
                <c:pt idx="82">
                  <c:v>44452</c:v>
                </c:pt>
                <c:pt idx="83">
                  <c:v>44453</c:v>
                </c:pt>
                <c:pt idx="84">
                  <c:v>44454</c:v>
                </c:pt>
                <c:pt idx="85">
                  <c:v>44455</c:v>
                </c:pt>
                <c:pt idx="86">
                  <c:v>44456</c:v>
                </c:pt>
                <c:pt idx="87">
                  <c:v>44457</c:v>
                </c:pt>
                <c:pt idx="88">
                  <c:v>44458</c:v>
                </c:pt>
                <c:pt idx="89">
                  <c:v>44459</c:v>
                </c:pt>
                <c:pt idx="90">
                  <c:v>44460</c:v>
                </c:pt>
                <c:pt idx="91">
                  <c:v>44461</c:v>
                </c:pt>
                <c:pt idx="92">
                  <c:v>44462</c:v>
                </c:pt>
                <c:pt idx="93">
                  <c:v>44463</c:v>
                </c:pt>
                <c:pt idx="94">
                  <c:v>44464</c:v>
                </c:pt>
                <c:pt idx="95">
                  <c:v>44465</c:v>
                </c:pt>
                <c:pt idx="96">
                  <c:v>44466</c:v>
                </c:pt>
                <c:pt idx="97">
                  <c:v>44467</c:v>
                </c:pt>
                <c:pt idx="98">
                  <c:v>44468</c:v>
                </c:pt>
                <c:pt idx="99">
                  <c:v>44469</c:v>
                </c:pt>
                <c:pt idx="100">
                  <c:v>44470</c:v>
                </c:pt>
                <c:pt idx="101">
                  <c:v>44471</c:v>
                </c:pt>
                <c:pt idx="102">
                  <c:v>44472</c:v>
                </c:pt>
                <c:pt idx="103">
                  <c:v>44473</c:v>
                </c:pt>
                <c:pt idx="104">
                  <c:v>44474</c:v>
                </c:pt>
                <c:pt idx="105">
                  <c:v>44475</c:v>
                </c:pt>
                <c:pt idx="106">
                  <c:v>44476</c:v>
                </c:pt>
                <c:pt idx="107">
                  <c:v>44477</c:v>
                </c:pt>
                <c:pt idx="108">
                  <c:v>44478</c:v>
                </c:pt>
                <c:pt idx="109">
                  <c:v>44479</c:v>
                </c:pt>
                <c:pt idx="110">
                  <c:v>44480</c:v>
                </c:pt>
                <c:pt idx="111">
                  <c:v>44481</c:v>
                </c:pt>
                <c:pt idx="112">
                  <c:v>44482</c:v>
                </c:pt>
                <c:pt idx="113">
                  <c:v>44483</c:v>
                </c:pt>
                <c:pt idx="114">
                  <c:v>44484</c:v>
                </c:pt>
                <c:pt idx="115">
                  <c:v>44485</c:v>
                </c:pt>
                <c:pt idx="116">
                  <c:v>44486</c:v>
                </c:pt>
                <c:pt idx="117">
                  <c:v>44487</c:v>
                </c:pt>
                <c:pt idx="118">
                  <c:v>44488</c:v>
                </c:pt>
                <c:pt idx="119">
                  <c:v>44489</c:v>
                </c:pt>
                <c:pt idx="120">
                  <c:v>44490</c:v>
                </c:pt>
                <c:pt idx="121">
                  <c:v>44491</c:v>
                </c:pt>
                <c:pt idx="122">
                  <c:v>44492</c:v>
                </c:pt>
                <c:pt idx="123">
                  <c:v>44493</c:v>
                </c:pt>
                <c:pt idx="124">
                  <c:v>44494</c:v>
                </c:pt>
                <c:pt idx="125">
                  <c:v>44495</c:v>
                </c:pt>
                <c:pt idx="126">
                  <c:v>44496</c:v>
                </c:pt>
                <c:pt idx="127">
                  <c:v>44497</c:v>
                </c:pt>
                <c:pt idx="128">
                  <c:v>44498</c:v>
                </c:pt>
                <c:pt idx="129">
                  <c:v>44499</c:v>
                </c:pt>
                <c:pt idx="130">
                  <c:v>44500</c:v>
                </c:pt>
                <c:pt idx="131">
                  <c:v>44501</c:v>
                </c:pt>
                <c:pt idx="132">
                  <c:v>44502</c:v>
                </c:pt>
                <c:pt idx="133">
                  <c:v>44503</c:v>
                </c:pt>
                <c:pt idx="134">
                  <c:v>44504</c:v>
                </c:pt>
                <c:pt idx="135">
                  <c:v>44505</c:v>
                </c:pt>
                <c:pt idx="136">
                  <c:v>44506</c:v>
                </c:pt>
                <c:pt idx="137">
                  <c:v>44507</c:v>
                </c:pt>
                <c:pt idx="138">
                  <c:v>44508</c:v>
                </c:pt>
                <c:pt idx="139">
                  <c:v>44509</c:v>
                </c:pt>
                <c:pt idx="140">
                  <c:v>44510</c:v>
                </c:pt>
                <c:pt idx="141">
                  <c:v>44511</c:v>
                </c:pt>
                <c:pt idx="142">
                  <c:v>44512</c:v>
                </c:pt>
                <c:pt idx="143">
                  <c:v>44513</c:v>
                </c:pt>
                <c:pt idx="144">
                  <c:v>44514</c:v>
                </c:pt>
                <c:pt idx="145">
                  <c:v>44515</c:v>
                </c:pt>
                <c:pt idx="146">
                  <c:v>44516</c:v>
                </c:pt>
                <c:pt idx="147">
                  <c:v>44517</c:v>
                </c:pt>
                <c:pt idx="148">
                  <c:v>44518</c:v>
                </c:pt>
              </c:numCache>
            </c:numRef>
          </c:cat>
          <c:val>
            <c:numRef>
              <c:f>Sheet1!$B$135:$B$292</c:f>
              <c:numCache>
                <c:formatCode>General</c:formatCode>
                <c:ptCount val="158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2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4</c:v>
                </c:pt>
                <c:pt idx="17">
                  <c:v>4</c:v>
                </c:pt>
                <c:pt idx="18">
                  <c:v>0</c:v>
                </c:pt>
                <c:pt idx="19">
                  <c:v>3</c:v>
                </c:pt>
                <c:pt idx="20">
                  <c:v>0</c:v>
                </c:pt>
                <c:pt idx="21">
                  <c:v>4</c:v>
                </c:pt>
                <c:pt idx="22">
                  <c:v>2</c:v>
                </c:pt>
                <c:pt idx="23">
                  <c:v>5</c:v>
                </c:pt>
                <c:pt idx="24">
                  <c:v>1</c:v>
                </c:pt>
                <c:pt idx="25">
                  <c:v>1</c:v>
                </c:pt>
                <c:pt idx="26">
                  <c:v>3</c:v>
                </c:pt>
                <c:pt idx="27">
                  <c:v>5</c:v>
                </c:pt>
                <c:pt idx="28">
                  <c:v>1</c:v>
                </c:pt>
                <c:pt idx="29">
                  <c:v>3</c:v>
                </c:pt>
                <c:pt idx="30">
                  <c:v>2</c:v>
                </c:pt>
                <c:pt idx="31">
                  <c:v>0</c:v>
                </c:pt>
                <c:pt idx="32">
                  <c:v>1</c:v>
                </c:pt>
                <c:pt idx="33">
                  <c:v>3</c:v>
                </c:pt>
                <c:pt idx="34">
                  <c:v>4</c:v>
                </c:pt>
                <c:pt idx="35">
                  <c:v>1</c:v>
                </c:pt>
                <c:pt idx="36">
                  <c:v>4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4</c:v>
                </c:pt>
                <c:pt idx="42">
                  <c:v>3</c:v>
                </c:pt>
                <c:pt idx="43">
                  <c:v>1</c:v>
                </c:pt>
                <c:pt idx="44">
                  <c:v>3</c:v>
                </c:pt>
                <c:pt idx="45">
                  <c:v>1</c:v>
                </c:pt>
                <c:pt idx="46">
                  <c:v>0</c:v>
                </c:pt>
                <c:pt idx="47">
                  <c:v>8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6</c:v>
                </c:pt>
                <c:pt idx="52">
                  <c:v>2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0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3</c:v>
                </c:pt>
                <c:pt idx="63">
                  <c:v>5</c:v>
                </c:pt>
                <c:pt idx="64">
                  <c:v>2</c:v>
                </c:pt>
                <c:pt idx="65">
                  <c:v>2</c:v>
                </c:pt>
                <c:pt idx="66">
                  <c:v>0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3</c:v>
                </c:pt>
                <c:pt idx="71">
                  <c:v>5</c:v>
                </c:pt>
                <c:pt idx="72">
                  <c:v>6</c:v>
                </c:pt>
                <c:pt idx="73">
                  <c:v>5</c:v>
                </c:pt>
                <c:pt idx="74">
                  <c:v>1</c:v>
                </c:pt>
                <c:pt idx="75">
                  <c:v>5</c:v>
                </c:pt>
                <c:pt idx="76">
                  <c:v>4</c:v>
                </c:pt>
                <c:pt idx="77">
                  <c:v>1</c:v>
                </c:pt>
                <c:pt idx="78">
                  <c:v>3</c:v>
                </c:pt>
                <c:pt idx="79">
                  <c:v>2</c:v>
                </c:pt>
                <c:pt idx="80">
                  <c:v>0</c:v>
                </c:pt>
                <c:pt idx="81">
                  <c:v>3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7</c:v>
                </c:pt>
                <c:pt idx="86">
                  <c:v>4</c:v>
                </c:pt>
                <c:pt idx="87">
                  <c:v>2</c:v>
                </c:pt>
                <c:pt idx="88">
                  <c:v>6</c:v>
                </c:pt>
                <c:pt idx="89">
                  <c:v>8</c:v>
                </c:pt>
                <c:pt idx="90">
                  <c:v>9</c:v>
                </c:pt>
                <c:pt idx="91">
                  <c:v>8</c:v>
                </c:pt>
                <c:pt idx="92">
                  <c:v>7</c:v>
                </c:pt>
                <c:pt idx="93">
                  <c:v>5</c:v>
                </c:pt>
                <c:pt idx="94">
                  <c:v>4</c:v>
                </c:pt>
                <c:pt idx="95">
                  <c:v>2</c:v>
                </c:pt>
                <c:pt idx="96">
                  <c:v>7</c:v>
                </c:pt>
                <c:pt idx="97">
                  <c:v>6</c:v>
                </c:pt>
                <c:pt idx="98">
                  <c:v>9</c:v>
                </c:pt>
                <c:pt idx="99">
                  <c:v>12</c:v>
                </c:pt>
                <c:pt idx="100">
                  <c:v>11</c:v>
                </c:pt>
                <c:pt idx="101">
                  <c:v>4</c:v>
                </c:pt>
                <c:pt idx="102">
                  <c:v>7</c:v>
                </c:pt>
                <c:pt idx="103">
                  <c:v>8</c:v>
                </c:pt>
                <c:pt idx="104">
                  <c:v>13</c:v>
                </c:pt>
                <c:pt idx="105">
                  <c:v>13</c:v>
                </c:pt>
                <c:pt idx="106">
                  <c:v>16</c:v>
                </c:pt>
                <c:pt idx="107">
                  <c:v>10</c:v>
                </c:pt>
                <c:pt idx="108">
                  <c:v>8</c:v>
                </c:pt>
                <c:pt idx="109">
                  <c:v>5</c:v>
                </c:pt>
                <c:pt idx="110">
                  <c:v>19</c:v>
                </c:pt>
                <c:pt idx="111">
                  <c:v>31</c:v>
                </c:pt>
                <c:pt idx="112">
                  <c:v>18</c:v>
                </c:pt>
                <c:pt idx="113">
                  <c:v>20</c:v>
                </c:pt>
                <c:pt idx="114">
                  <c:v>14</c:v>
                </c:pt>
                <c:pt idx="115">
                  <c:v>9</c:v>
                </c:pt>
                <c:pt idx="116">
                  <c:v>13</c:v>
                </c:pt>
                <c:pt idx="117">
                  <c:v>39</c:v>
                </c:pt>
                <c:pt idx="118">
                  <c:v>55</c:v>
                </c:pt>
                <c:pt idx="119">
                  <c:v>50</c:v>
                </c:pt>
                <c:pt idx="120">
                  <c:v>54</c:v>
                </c:pt>
                <c:pt idx="121">
                  <c:v>46</c:v>
                </c:pt>
                <c:pt idx="122">
                  <c:v>28</c:v>
                </c:pt>
                <c:pt idx="123">
                  <c:v>21</c:v>
                </c:pt>
                <c:pt idx="124">
                  <c:v>78</c:v>
                </c:pt>
                <c:pt idx="125">
                  <c:v>86</c:v>
                </c:pt>
                <c:pt idx="126">
                  <c:v>64</c:v>
                </c:pt>
                <c:pt idx="127">
                  <c:v>41</c:v>
                </c:pt>
                <c:pt idx="128">
                  <c:v>82</c:v>
                </c:pt>
                <c:pt idx="129">
                  <c:v>54</c:v>
                </c:pt>
                <c:pt idx="130">
                  <c:v>42</c:v>
                </c:pt>
                <c:pt idx="131">
                  <c:v>135</c:v>
                </c:pt>
                <c:pt idx="132">
                  <c:v>129</c:v>
                </c:pt>
                <c:pt idx="133">
                  <c:v>105</c:v>
                </c:pt>
                <c:pt idx="134">
                  <c:v>114</c:v>
                </c:pt>
                <c:pt idx="135">
                  <c:v>132</c:v>
                </c:pt>
                <c:pt idx="136">
                  <c:v>55</c:v>
                </c:pt>
                <c:pt idx="137">
                  <c:v>39</c:v>
                </c:pt>
                <c:pt idx="138">
                  <c:v>129</c:v>
                </c:pt>
                <c:pt idx="139">
                  <c:v>149</c:v>
                </c:pt>
                <c:pt idx="140">
                  <c:v>143</c:v>
                </c:pt>
                <c:pt idx="141">
                  <c:v>121</c:v>
                </c:pt>
                <c:pt idx="142">
                  <c:v>170</c:v>
                </c:pt>
                <c:pt idx="143">
                  <c:v>96</c:v>
                </c:pt>
                <c:pt idx="144">
                  <c:v>52</c:v>
                </c:pt>
                <c:pt idx="145">
                  <c:v>164</c:v>
                </c:pt>
                <c:pt idx="146">
                  <c:v>183</c:v>
                </c:pt>
                <c:pt idx="147">
                  <c:v>128</c:v>
                </c:pt>
                <c:pt idx="148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Y$1</c:f>
              <c:strCache>
                <c:ptCount val="11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</c:strCache>
            </c:strRef>
          </c:cat>
          <c:val>
            <c:numRef>
              <c:f>List1!$O$2:$Y$2</c:f>
              <c:numCache>
                <c:formatCode>General</c:formatCode>
                <c:ptCount val="11"/>
                <c:pt idx="0">
                  <c:v>5.6334491</c:v>
                </c:pt>
                <c:pt idx="1">
                  <c:v>17.523383200000001</c:v>
                </c:pt>
                <c:pt idx="2">
                  <c:v>32.268629099999998</c:v>
                </c:pt>
                <c:pt idx="3">
                  <c:v>43.7664124</c:v>
                </c:pt>
                <c:pt idx="4">
                  <c:v>52.670759699999998</c:v>
                </c:pt>
                <c:pt idx="5">
                  <c:v>112.6838905</c:v>
                </c:pt>
                <c:pt idx="6">
                  <c:v>193.28374880000001</c:v>
                </c:pt>
                <c:pt idx="7">
                  <c:v>344.25821910000002</c:v>
                </c:pt>
                <c:pt idx="8">
                  <c:v>393.74088849999998</c:v>
                </c:pt>
                <c:pt idx="9">
                  <c:v>347.38547549999998</c:v>
                </c:pt>
                <c:pt idx="10">
                  <c:v>228.4889662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8F6-4753-91BA-05F66EF54DB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Y$1</c:f>
              <c:strCache>
                <c:ptCount val="11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</c:strCache>
            </c:strRef>
          </c:cat>
          <c:val>
            <c:numRef>
              <c:f>List1!$O$3:$Y$3</c:f>
              <c:numCache>
                <c:formatCode>General</c:formatCode>
                <c:ptCount val="11"/>
                <c:pt idx="0">
                  <c:v>1.8433377</c:v>
                </c:pt>
                <c:pt idx="1">
                  <c:v>3.8423764</c:v>
                </c:pt>
                <c:pt idx="2">
                  <c:v>3.3826170000000002</c:v>
                </c:pt>
                <c:pt idx="3">
                  <c:v>6.3064406999999996</c:v>
                </c:pt>
                <c:pt idx="4">
                  <c:v>6.616657</c:v>
                </c:pt>
                <c:pt idx="5">
                  <c:v>10.163430999999999</c:v>
                </c:pt>
                <c:pt idx="6">
                  <c:v>16.184023100000001</c:v>
                </c:pt>
                <c:pt idx="7">
                  <c:v>35.174925799999997</c:v>
                </c:pt>
                <c:pt idx="8">
                  <c:v>52.811192200000001</c:v>
                </c:pt>
                <c:pt idx="9">
                  <c:v>97.542123900000007</c:v>
                </c:pt>
                <c:pt idx="10">
                  <c:v>113.489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F6-4753-91BA-05F66EF54D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2</c:f>
              <c:numCache>
                <c:formatCode>m/d/yyyy</c:formatCode>
                <c:ptCount val="15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70</c:v>
                </c:pt>
                <c:pt idx="5">
                  <c:v>44371</c:v>
                </c:pt>
                <c:pt idx="6">
                  <c:v>44373</c:v>
                </c:pt>
                <c:pt idx="7">
                  <c:v>44374</c:v>
                </c:pt>
                <c:pt idx="8">
                  <c:v>44375</c:v>
                </c:pt>
                <c:pt idx="9">
                  <c:v>44376</c:v>
                </c:pt>
                <c:pt idx="10">
                  <c:v>44378</c:v>
                </c:pt>
                <c:pt idx="11">
                  <c:v>44379</c:v>
                </c:pt>
                <c:pt idx="12">
                  <c:v>44381</c:v>
                </c:pt>
                <c:pt idx="13">
                  <c:v>44382</c:v>
                </c:pt>
                <c:pt idx="14">
                  <c:v>44383</c:v>
                </c:pt>
                <c:pt idx="15">
                  <c:v>44384</c:v>
                </c:pt>
                <c:pt idx="16">
                  <c:v>44385</c:v>
                </c:pt>
                <c:pt idx="17">
                  <c:v>44386</c:v>
                </c:pt>
                <c:pt idx="18">
                  <c:v>44387</c:v>
                </c:pt>
                <c:pt idx="19">
                  <c:v>44389</c:v>
                </c:pt>
                <c:pt idx="20">
                  <c:v>44390</c:v>
                </c:pt>
                <c:pt idx="21">
                  <c:v>44391</c:v>
                </c:pt>
                <c:pt idx="22">
                  <c:v>44392</c:v>
                </c:pt>
                <c:pt idx="23">
                  <c:v>44393</c:v>
                </c:pt>
                <c:pt idx="24">
                  <c:v>44394</c:v>
                </c:pt>
                <c:pt idx="25">
                  <c:v>44395</c:v>
                </c:pt>
                <c:pt idx="26">
                  <c:v>44396</c:v>
                </c:pt>
                <c:pt idx="27">
                  <c:v>44397</c:v>
                </c:pt>
                <c:pt idx="28">
                  <c:v>44398</c:v>
                </c:pt>
                <c:pt idx="29">
                  <c:v>44399</c:v>
                </c:pt>
                <c:pt idx="30">
                  <c:v>44400</c:v>
                </c:pt>
                <c:pt idx="31">
                  <c:v>44401</c:v>
                </c:pt>
                <c:pt idx="32">
                  <c:v>44402</c:v>
                </c:pt>
                <c:pt idx="33">
                  <c:v>44403</c:v>
                </c:pt>
                <c:pt idx="34">
                  <c:v>44404</c:v>
                </c:pt>
                <c:pt idx="35">
                  <c:v>44405</c:v>
                </c:pt>
                <c:pt idx="36">
                  <c:v>44406</c:v>
                </c:pt>
                <c:pt idx="37">
                  <c:v>44407</c:v>
                </c:pt>
                <c:pt idx="38">
                  <c:v>44408</c:v>
                </c:pt>
                <c:pt idx="39">
                  <c:v>44409</c:v>
                </c:pt>
                <c:pt idx="40">
                  <c:v>44410</c:v>
                </c:pt>
                <c:pt idx="41">
                  <c:v>44411</c:v>
                </c:pt>
                <c:pt idx="42">
                  <c:v>44412</c:v>
                </c:pt>
                <c:pt idx="43">
                  <c:v>44413</c:v>
                </c:pt>
                <c:pt idx="44">
                  <c:v>44414</c:v>
                </c:pt>
                <c:pt idx="45">
                  <c:v>44415</c:v>
                </c:pt>
                <c:pt idx="46">
                  <c:v>44416</c:v>
                </c:pt>
                <c:pt idx="47">
                  <c:v>44417</c:v>
                </c:pt>
                <c:pt idx="48">
                  <c:v>44418</c:v>
                </c:pt>
                <c:pt idx="49">
                  <c:v>44419</c:v>
                </c:pt>
                <c:pt idx="50">
                  <c:v>44420</c:v>
                </c:pt>
                <c:pt idx="51">
                  <c:v>44421</c:v>
                </c:pt>
                <c:pt idx="52">
                  <c:v>44422</c:v>
                </c:pt>
                <c:pt idx="53">
                  <c:v>44423</c:v>
                </c:pt>
                <c:pt idx="54">
                  <c:v>44424</c:v>
                </c:pt>
                <c:pt idx="55">
                  <c:v>44425</c:v>
                </c:pt>
                <c:pt idx="56">
                  <c:v>44426</c:v>
                </c:pt>
                <c:pt idx="57">
                  <c:v>44427</c:v>
                </c:pt>
                <c:pt idx="58">
                  <c:v>44428</c:v>
                </c:pt>
                <c:pt idx="59">
                  <c:v>44429</c:v>
                </c:pt>
                <c:pt idx="60">
                  <c:v>44430</c:v>
                </c:pt>
                <c:pt idx="61">
                  <c:v>44431</c:v>
                </c:pt>
                <c:pt idx="62">
                  <c:v>44432</c:v>
                </c:pt>
                <c:pt idx="63">
                  <c:v>44433</c:v>
                </c:pt>
                <c:pt idx="64">
                  <c:v>44434</c:v>
                </c:pt>
                <c:pt idx="65">
                  <c:v>44435</c:v>
                </c:pt>
                <c:pt idx="66">
                  <c:v>44436</c:v>
                </c:pt>
                <c:pt idx="67">
                  <c:v>44437</c:v>
                </c:pt>
                <c:pt idx="68">
                  <c:v>44438</c:v>
                </c:pt>
                <c:pt idx="69">
                  <c:v>44439</c:v>
                </c:pt>
                <c:pt idx="70">
                  <c:v>44440</c:v>
                </c:pt>
                <c:pt idx="71">
                  <c:v>44441</c:v>
                </c:pt>
                <c:pt idx="72">
                  <c:v>44442</c:v>
                </c:pt>
                <c:pt idx="73">
                  <c:v>44443</c:v>
                </c:pt>
                <c:pt idx="74">
                  <c:v>44444</c:v>
                </c:pt>
                <c:pt idx="75">
                  <c:v>44445</c:v>
                </c:pt>
                <c:pt idx="76">
                  <c:v>44446</c:v>
                </c:pt>
                <c:pt idx="77">
                  <c:v>44447</c:v>
                </c:pt>
                <c:pt idx="78">
                  <c:v>44448</c:v>
                </c:pt>
                <c:pt idx="79">
                  <c:v>44449</c:v>
                </c:pt>
                <c:pt idx="80">
                  <c:v>44450</c:v>
                </c:pt>
                <c:pt idx="81">
                  <c:v>44451</c:v>
                </c:pt>
                <c:pt idx="82">
                  <c:v>44452</c:v>
                </c:pt>
                <c:pt idx="83">
                  <c:v>44453</c:v>
                </c:pt>
                <c:pt idx="84">
                  <c:v>44454</c:v>
                </c:pt>
                <c:pt idx="85">
                  <c:v>44455</c:v>
                </c:pt>
                <c:pt idx="86">
                  <c:v>44456</c:v>
                </c:pt>
                <c:pt idx="87">
                  <c:v>44457</c:v>
                </c:pt>
                <c:pt idx="88">
                  <c:v>44458</c:v>
                </c:pt>
                <c:pt idx="89">
                  <c:v>44459</c:v>
                </c:pt>
                <c:pt idx="90">
                  <c:v>44460</c:v>
                </c:pt>
                <c:pt idx="91">
                  <c:v>44461</c:v>
                </c:pt>
                <c:pt idx="92">
                  <c:v>44462</c:v>
                </c:pt>
                <c:pt idx="93">
                  <c:v>44463</c:v>
                </c:pt>
                <c:pt idx="94">
                  <c:v>44464</c:v>
                </c:pt>
                <c:pt idx="95">
                  <c:v>44465</c:v>
                </c:pt>
                <c:pt idx="96">
                  <c:v>44466</c:v>
                </c:pt>
                <c:pt idx="97">
                  <c:v>44467</c:v>
                </c:pt>
                <c:pt idx="98">
                  <c:v>44468</c:v>
                </c:pt>
                <c:pt idx="99">
                  <c:v>44469</c:v>
                </c:pt>
                <c:pt idx="100">
                  <c:v>44470</c:v>
                </c:pt>
                <c:pt idx="101">
                  <c:v>44471</c:v>
                </c:pt>
                <c:pt idx="102">
                  <c:v>44472</c:v>
                </c:pt>
                <c:pt idx="103">
                  <c:v>44473</c:v>
                </c:pt>
                <c:pt idx="104">
                  <c:v>44474</c:v>
                </c:pt>
                <c:pt idx="105">
                  <c:v>44475</c:v>
                </c:pt>
                <c:pt idx="106">
                  <c:v>44476</c:v>
                </c:pt>
                <c:pt idx="107">
                  <c:v>44477</c:v>
                </c:pt>
                <c:pt idx="108">
                  <c:v>44478</c:v>
                </c:pt>
                <c:pt idx="109">
                  <c:v>44479</c:v>
                </c:pt>
                <c:pt idx="110">
                  <c:v>44480</c:v>
                </c:pt>
                <c:pt idx="111">
                  <c:v>44481</c:v>
                </c:pt>
                <c:pt idx="112">
                  <c:v>44482</c:v>
                </c:pt>
                <c:pt idx="113">
                  <c:v>44483</c:v>
                </c:pt>
                <c:pt idx="114">
                  <c:v>44484</c:v>
                </c:pt>
                <c:pt idx="115">
                  <c:v>44485</c:v>
                </c:pt>
                <c:pt idx="116">
                  <c:v>44486</c:v>
                </c:pt>
                <c:pt idx="117">
                  <c:v>44487</c:v>
                </c:pt>
                <c:pt idx="118">
                  <c:v>44488</c:v>
                </c:pt>
                <c:pt idx="119">
                  <c:v>44489</c:v>
                </c:pt>
                <c:pt idx="120">
                  <c:v>44490</c:v>
                </c:pt>
                <c:pt idx="121">
                  <c:v>44491</c:v>
                </c:pt>
                <c:pt idx="122">
                  <c:v>44492</c:v>
                </c:pt>
                <c:pt idx="123">
                  <c:v>44493</c:v>
                </c:pt>
                <c:pt idx="124">
                  <c:v>44494</c:v>
                </c:pt>
                <c:pt idx="125">
                  <c:v>44495</c:v>
                </c:pt>
                <c:pt idx="126">
                  <c:v>44496</c:v>
                </c:pt>
                <c:pt idx="127">
                  <c:v>44497</c:v>
                </c:pt>
                <c:pt idx="128">
                  <c:v>44498</c:v>
                </c:pt>
                <c:pt idx="129">
                  <c:v>44499</c:v>
                </c:pt>
                <c:pt idx="130">
                  <c:v>44500</c:v>
                </c:pt>
                <c:pt idx="131">
                  <c:v>44501</c:v>
                </c:pt>
                <c:pt idx="132">
                  <c:v>44502</c:v>
                </c:pt>
                <c:pt idx="133">
                  <c:v>44503</c:v>
                </c:pt>
                <c:pt idx="134">
                  <c:v>44504</c:v>
                </c:pt>
                <c:pt idx="135">
                  <c:v>44505</c:v>
                </c:pt>
                <c:pt idx="136">
                  <c:v>44506</c:v>
                </c:pt>
                <c:pt idx="137">
                  <c:v>44507</c:v>
                </c:pt>
                <c:pt idx="138">
                  <c:v>44508</c:v>
                </c:pt>
                <c:pt idx="139">
                  <c:v>44509</c:v>
                </c:pt>
                <c:pt idx="140">
                  <c:v>44510</c:v>
                </c:pt>
                <c:pt idx="141">
                  <c:v>44511</c:v>
                </c:pt>
                <c:pt idx="142">
                  <c:v>44512</c:v>
                </c:pt>
                <c:pt idx="143">
                  <c:v>44513</c:v>
                </c:pt>
                <c:pt idx="144">
                  <c:v>44514</c:v>
                </c:pt>
                <c:pt idx="145">
                  <c:v>44515</c:v>
                </c:pt>
                <c:pt idx="146">
                  <c:v>44516</c:v>
                </c:pt>
                <c:pt idx="147">
                  <c:v>44517</c:v>
                </c:pt>
                <c:pt idx="148">
                  <c:v>44518</c:v>
                </c:pt>
              </c:numCache>
            </c:numRef>
          </c:cat>
          <c:val>
            <c:numRef>
              <c:f>Sheet1!$B$135:$B$292</c:f>
              <c:numCache>
                <c:formatCode>General</c:formatCode>
                <c:ptCount val="158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4</c:v>
                </c:pt>
                <c:pt idx="5">
                  <c:v>3</c:v>
                </c:pt>
                <c:pt idx="6">
                  <c:v>1</c:v>
                </c:pt>
                <c:pt idx="7">
                  <c:v>3</c:v>
                </c:pt>
                <c:pt idx="8">
                  <c:v>1</c:v>
                </c:pt>
                <c:pt idx="9">
                  <c:v>3</c:v>
                </c:pt>
                <c:pt idx="10">
                  <c:v>2</c:v>
                </c:pt>
                <c:pt idx="11">
                  <c:v>4</c:v>
                </c:pt>
                <c:pt idx="12">
                  <c:v>2</c:v>
                </c:pt>
                <c:pt idx="13">
                  <c:v>4</c:v>
                </c:pt>
                <c:pt idx="14">
                  <c:v>1</c:v>
                </c:pt>
                <c:pt idx="15">
                  <c:v>1</c:v>
                </c:pt>
                <c:pt idx="16">
                  <c:v>4</c:v>
                </c:pt>
                <c:pt idx="17">
                  <c:v>7</c:v>
                </c:pt>
                <c:pt idx="18">
                  <c:v>1</c:v>
                </c:pt>
                <c:pt idx="19">
                  <c:v>7</c:v>
                </c:pt>
                <c:pt idx="20">
                  <c:v>4</c:v>
                </c:pt>
                <c:pt idx="21">
                  <c:v>7</c:v>
                </c:pt>
                <c:pt idx="22">
                  <c:v>5</c:v>
                </c:pt>
                <c:pt idx="23">
                  <c:v>8</c:v>
                </c:pt>
                <c:pt idx="24">
                  <c:v>3</c:v>
                </c:pt>
                <c:pt idx="25">
                  <c:v>4</c:v>
                </c:pt>
                <c:pt idx="26">
                  <c:v>10</c:v>
                </c:pt>
                <c:pt idx="27">
                  <c:v>8</c:v>
                </c:pt>
                <c:pt idx="28">
                  <c:v>7</c:v>
                </c:pt>
                <c:pt idx="29">
                  <c:v>7</c:v>
                </c:pt>
                <c:pt idx="30">
                  <c:v>6</c:v>
                </c:pt>
                <c:pt idx="31">
                  <c:v>1</c:v>
                </c:pt>
                <c:pt idx="32">
                  <c:v>3</c:v>
                </c:pt>
                <c:pt idx="33">
                  <c:v>9</c:v>
                </c:pt>
                <c:pt idx="34">
                  <c:v>5</c:v>
                </c:pt>
                <c:pt idx="35">
                  <c:v>2</c:v>
                </c:pt>
                <c:pt idx="36">
                  <c:v>8</c:v>
                </c:pt>
                <c:pt idx="37">
                  <c:v>4</c:v>
                </c:pt>
                <c:pt idx="38">
                  <c:v>2</c:v>
                </c:pt>
                <c:pt idx="39">
                  <c:v>1</c:v>
                </c:pt>
                <c:pt idx="40">
                  <c:v>2</c:v>
                </c:pt>
                <c:pt idx="41">
                  <c:v>6</c:v>
                </c:pt>
                <c:pt idx="42">
                  <c:v>11</c:v>
                </c:pt>
                <c:pt idx="43">
                  <c:v>3</c:v>
                </c:pt>
                <c:pt idx="44">
                  <c:v>6</c:v>
                </c:pt>
                <c:pt idx="45">
                  <c:v>1</c:v>
                </c:pt>
                <c:pt idx="46">
                  <c:v>3</c:v>
                </c:pt>
                <c:pt idx="47">
                  <c:v>12</c:v>
                </c:pt>
                <c:pt idx="48">
                  <c:v>3</c:v>
                </c:pt>
                <c:pt idx="49">
                  <c:v>7</c:v>
                </c:pt>
                <c:pt idx="50">
                  <c:v>4</c:v>
                </c:pt>
                <c:pt idx="51">
                  <c:v>9</c:v>
                </c:pt>
                <c:pt idx="52">
                  <c:v>5</c:v>
                </c:pt>
                <c:pt idx="53">
                  <c:v>2</c:v>
                </c:pt>
                <c:pt idx="54">
                  <c:v>7</c:v>
                </c:pt>
                <c:pt idx="55">
                  <c:v>4</c:v>
                </c:pt>
                <c:pt idx="56">
                  <c:v>3</c:v>
                </c:pt>
                <c:pt idx="57">
                  <c:v>3</c:v>
                </c:pt>
                <c:pt idx="58">
                  <c:v>4</c:v>
                </c:pt>
                <c:pt idx="59">
                  <c:v>2</c:v>
                </c:pt>
                <c:pt idx="60">
                  <c:v>3</c:v>
                </c:pt>
                <c:pt idx="61">
                  <c:v>8</c:v>
                </c:pt>
                <c:pt idx="62">
                  <c:v>5</c:v>
                </c:pt>
                <c:pt idx="63">
                  <c:v>6</c:v>
                </c:pt>
                <c:pt idx="64">
                  <c:v>5</c:v>
                </c:pt>
                <c:pt idx="65">
                  <c:v>4</c:v>
                </c:pt>
                <c:pt idx="66">
                  <c:v>3</c:v>
                </c:pt>
                <c:pt idx="67">
                  <c:v>2</c:v>
                </c:pt>
                <c:pt idx="68">
                  <c:v>1</c:v>
                </c:pt>
                <c:pt idx="69">
                  <c:v>7</c:v>
                </c:pt>
                <c:pt idx="70">
                  <c:v>8</c:v>
                </c:pt>
                <c:pt idx="71">
                  <c:v>12</c:v>
                </c:pt>
                <c:pt idx="72">
                  <c:v>13</c:v>
                </c:pt>
                <c:pt idx="73">
                  <c:v>9</c:v>
                </c:pt>
                <c:pt idx="74">
                  <c:v>3</c:v>
                </c:pt>
                <c:pt idx="75">
                  <c:v>7</c:v>
                </c:pt>
                <c:pt idx="76">
                  <c:v>12</c:v>
                </c:pt>
                <c:pt idx="77">
                  <c:v>2</c:v>
                </c:pt>
                <c:pt idx="78">
                  <c:v>7</c:v>
                </c:pt>
                <c:pt idx="79">
                  <c:v>5</c:v>
                </c:pt>
                <c:pt idx="80">
                  <c:v>4</c:v>
                </c:pt>
                <c:pt idx="81">
                  <c:v>5</c:v>
                </c:pt>
                <c:pt idx="82">
                  <c:v>9</c:v>
                </c:pt>
                <c:pt idx="83">
                  <c:v>10</c:v>
                </c:pt>
                <c:pt idx="84">
                  <c:v>8</c:v>
                </c:pt>
                <c:pt idx="85">
                  <c:v>16</c:v>
                </c:pt>
                <c:pt idx="86">
                  <c:v>12</c:v>
                </c:pt>
                <c:pt idx="87">
                  <c:v>5</c:v>
                </c:pt>
                <c:pt idx="88">
                  <c:v>9</c:v>
                </c:pt>
                <c:pt idx="89">
                  <c:v>18</c:v>
                </c:pt>
                <c:pt idx="90">
                  <c:v>19</c:v>
                </c:pt>
                <c:pt idx="91">
                  <c:v>17</c:v>
                </c:pt>
                <c:pt idx="92">
                  <c:v>14</c:v>
                </c:pt>
                <c:pt idx="93">
                  <c:v>15</c:v>
                </c:pt>
                <c:pt idx="94">
                  <c:v>11</c:v>
                </c:pt>
                <c:pt idx="95">
                  <c:v>10</c:v>
                </c:pt>
                <c:pt idx="96">
                  <c:v>18</c:v>
                </c:pt>
                <c:pt idx="97">
                  <c:v>19</c:v>
                </c:pt>
                <c:pt idx="98">
                  <c:v>24</c:v>
                </c:pt>
                <c:pt idx="99">
                  <c:v>37</c:v>
                </c:pt>
                <c:pt idx="100">
                  <c:v>21</c:v>
                </c:pt>
                <c:pt idx="101">
                  <c:v>14</c:v>
                </c:pt>
                <c:pt idx="102">
                  <c:v>16</c:v>
                </c:pt>
                <c:pt idx="103">
                  <c:v>18</c:v>
                </c:pt>
                <c:pt idx="104">
                  <c:v>28</c:v>
                </c:pt>
                <c:pt idx="105">
                  <c:v>27</c:v>
                </c:pt>
                <c:pt idx="106">
                  <c:v>30</c:v>
                </c:pt>
                <c:pt idx="107">
                  <c:v>25</c:v>
                </c:pt>
                <c:pt idx="108">
                  <c:v>14</c:v>
                </c:pt>
                <c:pt idx="109">
                  <c:v>10</c:v>
                </c:pt>
                <c:pt idx="110">
                  <c:v>40</c:v>
                </c:pt>
                <c:pt idx="111">
                  <c:v>60</c:v>
                </c:pt>
                <c:pt idx="112">
                  <c:v>47</c:v>
                </c:pt>
                <c:pt idx="113">
                  <c:v>46</c:v>
                </c:pt>
                <c:pt idx="114">
                  <c:v>37</c:v>
                </c:pt>
                <c:pt idx="115">
                  <c:v>24</c:v>
                </c:pt>
                <c:pt idx="116">
                  <c:v>31</c:v>
                </c:pt>
                <c:pt idx="117">
                  <c:v>91</c:v>
                </c:pt>
                <c:pt idx="118">
                  <c:v>101</c:v>
                </c:pt>
                <c:pt idx="119">
                  <c:v>89</c:v>
                </c:pt>
                <c:pt idx="120">
                  <c:v>119</c:v>
                </c:pt>
                <c:pt idx="121">
                  <c:v>106</c:v>
                </c:pt>
                <c:pt idx="122">
                  <c:v>76</c:v>
                </c:pt>
                <c:pt idx="123">
                  <c:v>44</c:v>
                </c:pt>
                <c:pt idx="124">
                  <c:v>173</c:v>
                </c:pt>
                <c:pt idx="125">
                  <c:v>174</c:v>
                </c:pt>
                <c:pt idx="126">
                  <c:v>164</c:v>
                </c:pt>
                <c:pt idx="127">
                  <c:v>97</c:v>
                </c:pt>
                <c:pt idx="128">
                  <c:v>201</c:v>
                </c:pt>
                <c:pt idx="129">
                  <c:v>139</c:v>
                </c:pt>
                <c:pt idx="130">
                  <c:v>97</c:v>
                </c:pt>
                <c:pt idx="131">
                  <c:v>303</c:v>
                </c:pt>
                <c:pt idx="132">
                  <c:v>271</c:v>
                </c:pt>
                <c:pt idx="133">
                  <c:v>262</c:v>
                </c:pt>
                <c:pt idx="134">
                  <c:v>242</c:v>
                </c:pt>
                <c:pt idx="135">
                  <c:v>284</c:v>
                </c:pt>
                <c:pt idx="136">
                  <c:v>159</c:v>
                </c:pt>
                <c:pt idx="137">
                  <c:v>86</c:v>
                </c:pt>
                <c:pt idx="138">
                  <c:v>315</c:v>
                </c:pt>
                <c:pt idx="139">
                  <c:v>341</c:v>
                </c:pt>
                <c:pt idx="140">
                  <c:v>358</c:v>
                </c:pt>
                <c:pt idx="141">
                  <c:v>264</c:v>
                </c:pt>
                <c:pt idx="142">
                  <c:v>376</c:v>
                </c:pt>
                <c:pt idx="143">
                  <c:v>241</c:v>
                </c:pt>
                <c:pt idx="144">
                  <c:v>129</c:v>
                </c:pt>
                <c:pt idx="145">
                  <c:v>385</c:v>
                </c:pt>
                <c:pt idx="146">
                  <c:v>468</c:v>
                </c:pt>
                <c:pt idx="147">
                  <c:v>283</c:v>
                </c:pt>
                <c:pt idx="148">
                  <c:v>3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86</c:f>
              <c:numCache>
                <c:formatCode>m/d/yyyy</c:formatCode>
                <c:ptCount val="28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</c:numCache>
            </c:numRef>
          </c:cat>
          <c:val>
            <c:numRef>
              <c:f>List1!$B$2:$B$286</c:f>
              <c:numCache>
                <c:formatCode>General</c:formatCode>
                <c:ptCount val="285"/>
                <c:pt idx="0">
                  <c:v>81.173652220395994</c:v>
                </c:pt>
                <c:pt idx="1">
                  <c:v>64.315144206612004</c:v>
                </c:pt>
                <c:pt idx="2">
                  <c:v>52.974735126323999</c:v>
                </c:pt>
                <c:pt idx="3">
                  <c:v>78.200563867222996</c:v>
                </c:pt>
                <c:pt idx="4">
                  <c:v>53.780122039506999</c:v>
                </c:pt>
                <c:pt idx="5">
                  <c:v>35.363621234813998</c:v>
                </c:pt>
                <c:pt idx="6">
                  <c:v>33.483310662340998</c:v>
                </c:pt>
                <c:pt idx="7">
                  <c:v>42.714050787006002</c:v>
                </c:pt>
                <c:pt idx="8">
                  <c:v>52.598128383264999</c:v>
                </c:pt>
                <c:pt idx="9">
                  <c:v>69.691111011195005</c:v>
                </c:pt>
                <c:pt idx="10">
                  <c:v>62.550677632340999</c:v>
                </c:pt>
                <c:pt idx="11">
                  <c:v>64.822817631806004</c:v>
                </c:pt>
                <c:pt idx="12">
                  <c:v>26.548245402326</c:v>
                </c:pt>
                <c:pt idx="13">
                  <c:v>19.399112490602999</c:v>
                </c:pt>
                <c:pt idx="14">
                  <c:v>60.250037656273001</c:v>
                </c:pt>
                <c:pt idx="15">
                  <c:v>89.100867423150007</c:v>
                </c:pt>
                <c:pt idx="16">
                  <c:v>35.441657579062003</c:v>
                </c:pt>
                <c:pt idx="17">
                  <c:v>79.995428832637998</c:v>
                </c:pt>
                <c:pt idx="18">
                  <c:v>68.491111044936005</c:v>
                </c:pt>
                <c:pt idx="19">
                  <c:v>39.064847647093998</c:v>
                </c:pt>
                <c:pt idx="20">
                  <c:v>24.192572880124999</c:v>
                </c:pt>
                <c:pt idx="21">
                  <c:v>104.28846822361901</c:v>
                </c:pt>
                <c:pt idx="22">
                  <c:v>98.286538020508999</c:v>
                </c:pt>
                <c:pt idx="23">
                  <c:v>77.952889340789</c:v>
                </c:pt>
                <c:pt idx="24">
                  <c:v>115.63934541122001</c:v>
                </c:pt>
                <c:pt idx="25">
                  <c:v>137.19402122896901</c:v>
                </c:pt>
                <c:pt idx="26">
                  <c:v>76.205682766628996</c:v>
                </c:pt>
                <c:pt idx="27">
                  <c:v>58.143760447706001</c:v>
                </c:pt>
                <c:pt idx="28">
                  <c:v>104.186046511627</c:v>
                </c:pt>
                <c:pt idx="29">
                  <c:v>151.658767772511</c:v>
                </c:pt>
                <c:pt idx="30">
                  <c:v>122.92562999385299</c:v>
                </c:pt>
                <c:pt idx="31">
                  <c:v>70.128959364164004</c:v>
                </c:pt>
                <c:pt idx="32">
                  <c:v>86.880973066897994</c:v>
                </c:pt>
                <c:pt idx="33">
                  <c:v>31.643066213116001</c:v>
                </c:pt>
                <c:pt idx="34">
                  <c:v>31.694465353986999</c:v>
                </c:pt>
                <c:pt idx="35">
                  <c:v>80.003200128005005</c:v>
                </c:pt>
                <c:pt idx="36">
                  <c:v>68.881685575364003</c:v>
                </c:pt>
                <c:pt idx="37">
                  <c:v>77.725506238494006</c:v>
                </c:pt>
                <c:pt idx="38">
                  <c:v>24.762690879074999</c:v>
                </c:pt>
                <c:pt idx="39">
                  <c:v>70.963432960426999</c:v>
                </c:pt>
                <c:pt idx="40">
                  <c:v>37.593984962405997</c:v>
                </c:pt>
                <c:pt idx="41">
                  <c:v>16.718214494691001</c:v>
                </c:pt>
                <c:pt idx="42">
                  <c:v>88.331791032219996</c:v>
                </c:pt>
                <c:pt idx="43">
                  <c:v>105.84698759473299</c:v>
                </c:pt>
                <c:pt idx="44">
                  <c:v>29.824038174767999</c:v>
                </c:pt>
                <c:pt idx="45">
                  <c:v>42.863266180882</c:v>
                </c:pt>
                <c:pt idx="46">
                  <c:v>38.998180084928997</c:v>
                </c:pt>
                <c:pt idx="47">
                  <c:v>21.673168617251001</c:v>
                </c:pt>
                <c:pt idx="48">
                  <c:v>21.680686844158998</c:v>
                </c:pt>
                <c:pt idx="49">
                  <c:v>34.977264777894</c:v>
                </c:pt>
                <c:pt idx="50">
                  <c:v>66.026938991107997</c:v>
                </c:pt>
                <c:pt idx="51">
                  <c:v>31.053145239995999</c:v>
                </c:pt>
                <c:pt idx="52">
                  <c:v>35.861574323112002</c:v>
                </c:pt>
                <c:pt idx="53">
                  <c:v>36.328958721219998</c:v>
                </c:pt>
                <c:pt idx="54">
                  <c:v>36.405005688282003</c:v>
                </c:pt>
                <c:pt idx="55">
                  <c:v>4.5664185579250001</c:v>
                </c:pt>
                <c:pt idx="56">
                  <c:v>60.185185185184999</c:v>
                </c:pt>
                <c:pt idx="57">
                  <c:v>46.983649689906997</c:v>
                </c:pt>
                <c:pt idx="58">
                  <c:v>23.852685812421999</c:v>
                </c:pt>
                <c:pt idx="59">
                  <c:v>29.079629719381</c:v>
                </c:pt>
                <c:pt idx="60">
                  <c:v>19.827500743531001</c:v>
                </c:pt>
                <c:pt idx="61">
                  <c:v>14.902389349759</c:v>
                </c:pt>
                <c:pt idx="62">
                  <c:v>19.903468179330002</c:v>
                </c:pt>
                <c:pt idx="63">
                  <c:v>25.248699691965001</c:v>
                </c:pt>
                <c:pt idx="64">
                  <c:v>46.179896351788003</c:v>
                </c:pt>
                <c:pt idx="65">
                  <c:v>10.472300764477</c:v>
                </c:pt>
                <c:pt idx="66">
                  <c:v>5.3433075073470002</c:v>
                </c:pt>
                <c:pt idx="67">
                  <c:v>10.96010521701</c:v>
                </c:pt>
                <c:pt idx="68">
                  <c:v>11.005943209332999</c:v>
                </c:pt>
                <c:pt idx="69">
                  <c:v>5.5181547290579998</c:v>
                </c:pt>
                <c:pt idx="70">
                  <c:v>16.829350387074999</c:v>
                </c:pt>
                <c:pt idx="71">
                  <c:v>11.436413540713</c:v>
                </c:pt>
                <c:pt idx="72">
                  <c:v>52.389545375167003</c:v>
                </c:pt>
                <c:pt idx="73">
                  <c:v>17.840152235965</c:v>
                </c:pt>
                <c:pt idx="74">
                  <c:v>17.942583732056999</c:v>
                </c:pt>
                <c:pt idx="75">
                  <c:v>6.0168471720810004</c:v>
                </c:pt>
                <c:pt idx="76">
                  <c:v>12.069277653732</c:v>
                </c:pt>
                <c:pt idx="77">
                  <c:v>36.277888626881001</c:v>
                </c:pt>
                <c:pt idx="78">
                  <c:v>24.645717806531</c:v>
                </c:pt>
                <c:pt idx="79">
                  <c:v>31.25</c:v>
                </c:pt>
                <c:pt idx="80">
                  <c:v>6.3588960956370002</c:v>
                </c:pt>
                <c:pt idx="81">
                  <c:v>19.397387818439999</c:v>
                </c:pt>
                <c:pt idx="82">
                  <c:v>6.5070275897960004</c:v>
                </c:pt>
                <c:pt idx="83">
                  <c:v>6.5286936084080001</c:v>
                </c:pt>
                <c:pt idx="84">
                  <c:v>13.200448815259</c:v>
                </c:pt>
                <c:pt idx="85">
                  <c:v>6.6711140760500003</c:v>
                </c:pt>
                <c:pt idx="86">
                  <c:v>40.529586598216</c:v>
                </c:pt>
                <c:pt idx="87">
                  <c:v>13.670539986329</c:v>
                </c:pt>
                <c:pt idx="88">
                  <c:v>20.785699438786001</c:v>
                </c:pt>
                <c:pt idx="89">
                  <c:v>6.94299798653</c:v>
                </c:pt>
                <c:pt idx="90">
                  <c:v>0</c:v>
                </c:pt>
                <c:pt idx="91">
                  <c:v>7.0023107625509997</c:v>
                </c:pt>
                <c:pt idx="92">
                  <c:v>7.0576610911140003</c:v>
                </c:pt>
                <c:pt idx="93">
                  <c:v>7.097735822272</c:v>
                </c:pt>
                <c:pt idx="94">
                  <c:v>0</c:v>
                </c:pt>
                <c:pt idx="95">
                  <c:v>0</c:v>
                </c:pt>
                <c:pt idx="96">
                  <c:v>7.2139662386380001</c:v>
                </c:pt>
                <c:pt idx="97">
                  <c:v>7.2228241242319999</c:v>
                </c:pt>
                <c:pt idx="98">
                  <c:v>0</c:v>
                </c:pt>
                <c:pt idx="99">
                  <c:v>14.523273545857</c:v>
                </c:pt>
                <c:pt idx="100">
                  <c:v>0</c:v>
                </c:pt>
                <c:pt idx="101">
                  <c:v>14.664906877841</c:v>
                </c:pt>
                <c:pt idx="102">
                  <c:v>14.747087450227999</c:v>
                </c:pt>
                <c:pt idx="103">
                  <c:v>7.3795291860369998</c:v>
                </c:pt>
                <c:pt idx="104">
                  <c:v>0</c:v>
                </c:pt>
                <c:pt idx="105">
                  <c:v>14.822500555843</c:v>
                </c:pt>
                <c:pt idx="106">
                  <c:v>14.865467518953</c:v>
                </c:pt>
                <c:pt idx="107">
                  <c:v>22.356360384529001</c:v>
                </c:pt>
                <c:pt idx="108">
                  <c:v>7.472166180975</c:v>
                </c:pt>
                <c:pt idx="109">
                  <c:v>7.5142771265399997</c:v>
                </c:pt>
                <c:pt idx="110">
                  <c:v>0</c:v>
                </c:pt>
                <c:pt idx="111">
                  <c:v>7.5397722988759996</c:v>
                </c:pt>
                <c:pt idx="112">
                  <c:v>0</c:v>
                </c:pt>
                <c:pt idx="113">
                  <c:v>7.5895567698840001</c:v>
                </c:pt>
                <c:pt idx="114">
                  <c:v>15.229972586049</c:v>
                </c:pt>
                <c:pt idx="115">
                  <c:v>0</c:v>
                </c:pt>
                <c:pt idx="116">
                  <c:v>7.6769537847380001</c:v>
                </c:pt>
                <c:pt idx="117">
                  <c:v>0</c:v>
                </c:pt>
                <c:pt idx="118">
                  <c:v>7.7417356971429996</c:v>
                </c:pt>
                <c:pt idx="119">
                  <c:v>0</c:v>
                </c:pt>
                <c:pt idx="120">
                  <c:v>7.8653452886580002</c:v>
                </c:pt>
                <c:pt idx="121">
                  <c:v>0</c:v>
                </c:pt>
                <c:pt idx="122">
                  <c:v>8.0237503008900006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16.826518593303</c:v>
                </c:pt>
                <c:pt idx="131">
                  <c:v>0</c:v>
                </c:pt>
                <c:pt idx="132">
                  <c:v>0</c:v>
                </c:pt>
                <c:pt idx="133">
                  <c:v>8.6043710204780002</c:v>
                </c:pt>
                <c:pt idx="135">
                  <c:v>0</c:v>
                </c:pt>
                <c:pt idx="136">
                  <c:v>0</c:v>
                </c:pt>
                <c:pt idx="137">
                  <c:v>8.8754770568910004</c:v>
                </c:pt>
                <c:pt idx="138">
                  <c:v>0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0</c:v>
                </c:pt>
                <c:pt idx="162">
                  <c:v>10.115314586283001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20.691082143595999</c:v>
                </c:pt>
                <c:pt idx="167">
                  <c:v>0</c:v>
                </c:pt>
                <c:pt idx="168">
                  <c:v>20.701790704895</c:v>
                </c:pt>
                <c:pt idx="169">
                  <c:v>0</c:v>
                </c:pt>
                <c:pt idx="170">
                  <c:v>10.415581710238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10.565240359218</c:v>
                </c:pt>
                <c:pt idx="175">
                  <c:v>10.620220900593999</c:v>
                </c:pt>
                <c:pt idx="176">
                  <c:v>10.674637062339</c:v>
                </c:pt>
                <c:pt idx="177">
                  <c:v>0</c:v>
                </c:pt>
                <c:pt idx="178">
                  <c:v>21.577300679684001</c:v>
                </c:pt>
                <c:pt idx="179">
                  <c:v>21.710811984368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44.306601683650001</c:v>
                </c:pt>
                <c:pt idx="185">
                  <c:v>0</c:v>
                </c:pt>
                <c:pt idx="186">
                  <c:v>22.34886579506</c:v>
                </c:pt>
                <c:pt idx="187">
                  <c:v>0</c:v>
                </c:pt>
                <c:pt idx="188">
                  <c:v>11.199462425803</c:v>
                </c:pt>
                <c:pt idx="189">
                  <c:v>11.243534967393</c:v>
                </c:pt>
                <c:pt idx="190">
                  <c:v>0</c:v>
                </c:pt>
                <c:pt idx="191">
                  <c:v>22.665457842247999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22.980581408709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1.680878402055001</c:v>
                </c:pt>
                <c:pt idx="201">
                  <c:v>0</c:v>
                </c:pt>
                <c:pt idx="202">
                  <c:v>0</c:v>
                </c:pt>
                <c:pt idx="203">
                  <c:v>11.734334663224001</c:v>
                </c:pt>
                <c:pt idx="204">
                  <c:v>0</c:v>
                </c:pt>
                <c:pt idx="205">
                  <c:v>0</c:v>
                </c:pt>
                <c:pt idx="206">
                  <c:v>11.875074219212999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12.059816690786</c:v>
                </c:pt>
                <c:pt idx="213">
                  <c:v>12.097749818533</c:v>
                </c:pt>
                <c:pt idx="214">
                  <c:v>0</c:v>
                </c:pt>
                <c:pt idx="215">
                  <c:v>12.144765606023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2.242899118511</c:v>
                </c:pt>
                <c:pt idx="223">
                  <c:v>0</c:v>
                </c:pt>
                <c:pt idx="224">
                  <c:v>0</c:v>
                </c:pt>
                <c:pt idx="225">
                  <c:v>12.242899118511</c:v>
                </c:pt>
                <c:pt idx="226">
                  <c:v>0</c:v>
                </c:pt>
                <c:pt idx="227">
                  <c:v>0</c:v>
                </c:pt>
                <c:pt idx="228">
                  <c:v>12.242899118511</c:v>
                </c:pt>
                <c:pt idx="229">
                  <c:v>12.224938875305</c:v>
                </c:pt>
                <c:pt idx="230">
                  <c:v>0</c:v>
                </c:pt>
                <c:pt idx="231">
                  <c:v>0</c:v>
                </c:pt>
                <c:pt idx="232">
                  <c:v>12.196609342602001</c:v>
                </c:pt>
                <c:pt idx="233">
                  <c:v>24.399170428205</c:v>
                </c:pt>
                <c:pt idx="234">
                  <c:v>0</c:v>
                </c:pt>
                <c:pt idx="235">
                  <c:v>12.221950623319</c:v>
                </c:pt>
                <c:pt idx="236">
                  <c:v>0</c:v>
                </c:pt>
                <c:pt idx="237">
                  <c:v>12.181751735899001</c:v>
                </c:pt>
                <c:pt idx="238">
                  <c:v>24.330900243308999</c:v>
                </c:pt>
                <c:pt idx="239">
                  <c:v>12.159533073929</c:v>
                </c:pt>
                <c:pt idx="240">
                  <c:v>12.152144853566</c:v>
                </c:pt>
                <c:pt idx="241">
                  <c:v>12.162490878131001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2.227928588897001</c:v>
                </c:pt>
                <c:pt idx="248">
                  <c:v>12.265423770390999</c:v>
                </c:pt>
                <c:pt idx="249">
                  <c:v>12.304663467454001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37.005057357837998</c:v>
                </c:pt>
                <c:pt idx="254">
                  <c:v>12.377769525931001</c:v>
                </c:pt>
                <c:pt idx="255">
                  <c:v>37.193156459211004</c:v>
                </c:pt>
                <c:pt idx="256">
                  <c:v>12.425447316103</c:v>
                </c:pt>
                <c:pt idx="257">
                  <c:v>0</c:v>
                </c:pt>
                <c:pt idx="258">
                  <c:v>24.853982850750999</c:v>
                </c:pt>
                <c:pt idx="259">
                  <c:v>49.751243781093997</c:v>
                </c:pt>
                <c:pt idx="260">
                  <c:v>62.320827620590002</c:v>
                </c:pt>
                <c:pt idx="261">
                  <c:v>24.962556165751</c:v>
                </c:pt>
                <c:pt idx="262">
                  <c:v>37.528146109582003</c:v>
                </c:pt>
                <c:pt idx="263">
                  <c:v>75.150300601202005</c:v>
                </c:pt>
                <c:pt idx="264">
                  <c:v>87.697318967677006</c:v>
                </c:pt>
                <c:pt idx="265">
                  <c:v>50.119032702668001</c:v>
                </c:pt>
                <c:pt idx="266">
                  <c:v>87.950747581353994</c:v>
                </c:pt>
                <c:pt idx="267">
                  <c:v>37.731103005911002</c:v>
                </c:pt>
                <c:pt idx="268">
                  <c:v>75.528700906344</c:v>
                </c:pt>
                <c:pt idx="269">
                  <c:v>88.227880010082998</c:v>
                </c:pt>
                <c:pt idx="270">
                  <c:v>101.06114199090401</c:v>
                </c:pt>
                <c:pt idx="271">
                  <c:v>88.495575221237999</c:v>
                </c:pt>
                <c:pt idx="272">
                  <c:v>25.287646984447999</c:v>
                </c:pt>
                <c:pt idx="273">
                  <c:v>164.723770907247</c:v>
                </c:pt>
                <c:pt idx="274">
                  <c:v>164.87000634115401</c:v>
                </c:pt>
                <c:pt idx="275">
                  <c:v>152.516522623284</c:v>
                </c:pt>
                <c:pt idx="276">
                  <c:v>89.171974522292004</c:v>
                </c:pt>
                <c:pt idx="277">
                  <c:v>153.43306482546899</c:v>
                </c:pt>
                <c:pt idx="278">
                  <c:v>38.412291933417997</c:v>
                </c:pt>
                <c:pt idx="279">
                  <c:v>38.436899423446</c:v>
                </c:pt>
                <c:pt idx="280">
                  <c:v>141.29736673089201</c:v>
                </c:pt>
                <c:pt idx="281">
                  <c:v>77.309625048317997</c:v>
                </c:pt>
                <c:pt idx="282">
                  <c:v>129.31591878960299</c:v>
                </c:pt>
                <c:pt idx="283">
                  <c:v>116.489774786435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4E6-4811-8DF5-DE90F2DCF13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86</c:f>
              <c:numCache>
                <c:formatCode>m/d/yyyy</c:formatCode>
                <c:ptCount val="28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</c:numCache>
            </c:numRef>
          </c:cat>
          <c:val>
            <c:numRef>
              <c:f>List1!$C$2:$C$286</c:f>
              <c:numCache>
                <c:formatCode>General</c:formatCode>
                <c:ptCount val="28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2.289541600098</c:v>
                </c:pt>
                <c:pt idx="11">
                  <c:v>10.365916865346</c:v>
                </c:pt>
                <c:pt idx="12">
                  <c:v>0</c:v>
                </c:pt>
                <c:pt idx="13">
                  <c:v>0</c:v>
                </c:pt>
                <c:pt idx="14">
                  <c:v>8.7290502793289999</c:v>
                </c:pt>
                <c:pt idx="15">
                  <c:v>22.851919561243001</c:v>
                </c:pt>
                <c:pt idx="16">
                  <c:v>6.8474390577920001</c:v>
                </c:pt>
                <c:pt idx="17">
                  <c:v>12.285766939001</c:v>
                </c:pt>
                <c:pt idx="18">
                  <c:v>0</c:v>
                </c:pt>
                <c:pt idx="19">
                  <c:v>11.112963271656</c:v>
                </c:pt>
                <c:pt idx="20">
                  <c:v>5.4932981762250002</c:v>
                </c:pt>
                <c:pt idx="21">
                  <c:v>15.285845307244999</c:v>
                </c:pt>
                <c:pt idx="22">
                  <c:v>9.6418068746079992</c:v>
                </c:pt>
                <c:pt idx="23">
                  <c:v>13.788031988234</c:v>
                </c:pt>
                <c:pt idx="24">
                  <c:v>13.202482066628001</c:v>
                </c:pt>
                <c:pt idx="25">
                  <c:v>8.4893246742220008</c:v>
                </c:pt>
                <c:pt idx="26">
                  <c:v>8.4398869055149994</c:v>
                </c:pt>
                <c:pt idx="27">
                  <c:v>12.640626975097</c:v>
                </c:pt>
                <c:pt idx="28">
                  <c:v>16.412276382733999</c:v>
                </c:pt>
                <c:pt idx="29">
                  <c:v>4.0212321055169999</c:v>
                </c:pt>
                <c:pt idx="30">
                  <c:v>11.900983814662</c:v>
                </c:pt>
                <c:pt idx="31">
                  <c:v>7.8210542781159997</c:v>
                </c:pt>
                <c:pt idx="32">
                  <c:v>3.8584712736809998</c:v>
                </c:pt>
                <c:pt idx="33">
                  <c:v>7.7053475111719996</c:v>
                </c:pt>
                <c:pt idx="34">
                  <c:v>0</c:v>
                </c:pt>
                <c:pt idx="35">
                  <c:v>11.433798307797</c:v>
                </c:pt>
                <c:pt idx="36">
                  <c:v>15.061942237450999</c:v>
                </c:pt>
                <c:pt idx="37">
                  <c:v>7.4651935351420002</c:v>
                </c:pt>
                <c:pt idx="38">
                  <c:v>7.4060359192740002</c:v>
                </c:pt>
                <c:pt idx="39">
                  <c:v>3.6658235272550002</c:v>
                </c:pt>
                <c:pt idx="40">
                  <c:v>3.6638088957270001</c:v>
                </c:pt>
                <c:pt idx="41">
                  <c:v>10.985791709389</c:v>
                </c:pt>
                <c:pt idx="42">
                  <c:v>7.2835864379619997</c:v>
                </c:pt>
                <c:pt idx="43">
                  <c:v>14.485405953500999</c:v>
                </c:pt>
                <c:pt idx="44">
                  <c:v>10.806527142394</c:v>
                </c:pt>
                <c:pt idx="45">
                  <c:v>10.751917425274</c:v>
                </c:pt>
                <c:pt idx="46">
                  <c:v>10.656057968955</c:v>
                </c:pt>
                <c:pt idx="47">
                  <c:v>3.5510102624190001</c:v>
                </c:pt>
                <c:pt idx="48">
                  <c:v>3.5501278046000002</c:v>
                </c:pt>
                <c:pt idx="49">
                  <c:v>7.0529322565849997</c:v>
                </c:pt>
                <c:pt idx="50">
                  <c:v>7.0148363789410002</c:v>
                </c:pt>
                <c:pt idx="51">
                  <c:v>6.9720421111339999</c:v>
                </c:pt>
                <c:pt idx="52">
                  <c:v>3.4578146611339999</c:v>
                </c:pt>
                <c:pt idx="53">
                  <c:v>10.271861946174999</c:v>
                </c:pt>
                <c:pt idx="54">
                  <c:v>10.255709011348999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9.9130951987570004</c:v>
                </c:pt>
                <c:pt idx="59">
                  <c:v>3.268721602981</c:v>
                </c:pt>
                <c:pt idx="60">
                  <c:v>0</c:v>
                </c:pt>
                <c:pt idx="61">
                  <c:v>6.4310749541780003</c:v>
                </c:pt>
                <c:pt idx="62">
                  <c:v>0</c:v>
                </c:pt>
                <c:pt idx="63">
                  <c:v>0</c:v>
                </c:pt>
                <c:pt idx="64">
                  <c:v>3.1500031500030001</c:v>
                </c:pt>
                <c:pt idx="65">
                  <c:v>3.1114844892489999</c:v>
                </c:pt>
                <c:pt idx="66">
                  <c:v>15.373735510254001</c:v>
                </c:pt>
                <c:pt idx="67">
                  <c:v>6.0620756547039996</c:v>
                </c:pt>
                <c:pt idx="68">
                  <c:v>0</c:v>
                </c:pt>
                <c:pt idx="69">
                  <c:v>3.0191413561979998</c:v>
                </c:pt>
                <c:pt idx="70">
                  <c:v>5.9846195278129999</c:v>
                </c:pt>
                <c:pt idx="71">
                  <c:v>2.962173050149</c:v>
                </c:pt>
                <c:pt idx="72">
                  <c:v>0</c:v>
                </c:pt>
                <c:pt idx="73">
                  <c:v>0</c:v>
                </c:pt>
                <c:pt idx="74">
                  <c:v>2.8958647052000002</c:v>
                </c:pt>
                <c:pt idx="75">
                  <c:v>5.7746722873470002</c:v>
                </c:pt>
                <c:pt idx="76">
                  <c:v>5.7661813464030001</c:v>
                </c:pt>
                <c:pt idx="77">
                  <c:v>5.7605345776080004</c:v>
                </c:pt>
                <c:pt idx="78">
                  <c:v>0</c:v>
                </c:pt>
                <c:pt idx="79">
                  <c:v>11.343977765803</c:v>
                </c:pt>
                <c:pt idx="80">
                  <c:v>2.8139685398309999</c:v>
                </c:pt>
                <c:pt idx="81">
                  <c:v>8.3801223497859993</c:v>
                </c:pt>
                <c:pt idx="82">
                  <c:v>0</c:v>
                </c:pt>
                <c:pt idx="83">
                  <c:v>0</c:v>
                </c:pt>
                <c:pt idx="84">
                  <c:v>2.7686259309499999</c:v>
                </c:pt>
                <c:pt idx="85">
                  <c:v>5.5123752825089998</c:v>
                </c:pt>
                <c:pt idx="86">
                  <c:v>2.7420548959389999</c:v>
                </c:pt>
                <c:pt idx="87">
                  <c:v>13.644426251876</c:v>
                </c:pt>
                <c:pt idx="88">
                  <c:v>2.7141461296270002</c:v>
                </c:pt>
                <c:pt idx="89">
                  <c:v>0</c:v>
                </c:pt>
                <c:pt idx="90">
                  <c:v>8.1292000867110001</c:v>
                </c:pt>
                <c:pt idx="91">
                  <c:v>2.7032141215899999</c:v>
                </c:pt>
                <c:pt idx="92">
                  <c:v>5.3902544200079996</c:v>
                </c:pt>
                <c:pt idx="93">
                  <c:v>10.757893604432001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5.3408817795810002</c:v>
                </c:pt>
                <c:pt idx="99">
                  <c:v>0</c:v>
                </c:pt>
                <c:pt idx="100">
                  <c:v>0</c:v>
                </c:pt>
                <c:pt idx="101">
                  <c:v>7.9740577321770001</c:v>
                </c:pt>
                <c:pt idx="102">
                  <c:v>0</c:v>
                </c:pt>
                <c:pt idx="103">
                  <c:v>2.652097809367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2.6432649608790002</c:v>
                </c:pt>
                <c:pt idx="108">
                  <c:v>0</c:v>
                </c:pt>
                <c:pt idx="109">
                  <c:v>0</c:v>
                </c:pt>
                <c:pt idx="110">
                  <c:v>2.6353238813050002</c:v>
                </c:pt>
                <c:pt idx="111">
                  <c:v>0</c:v>
                </c:pt>
                <c:pt idx="112">
                  <c:v>2.629779624467</c:v>
                </c:pt>
                <c:pt idx="113">
                  <c:v>0</c:v>
                </c:pt>
                <c:pt idx="114">
                  <c:v>0</c:v>
                </c:pt>
                <c:pt idx="115">
                  <c:v>5.24232654452</c:v>
                </c:pt>
                <c:pt idx="116">
                  <c:v>5.2339579189779997</c:v>
                </c:pt>
                <c:pt idx="117">
                  <c:v>0</c:v>
                </c:pt>
                <c:pt idx="118">
                  <c:v>0</c:v>
                </c:pt>
                <c:pt idx="119">
                  <c:v>2.6059310991809999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2.5320301817990001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2.4573043371419998</c:v>
                </c:pt>
                <c:pt idx="151">
                  <c:v>0</c:v>
                </c:pt>
                <c:pt idx="153">
                  <c:v>2.448579823702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4.8570804089659996</c:v>
                </c:pt>
                <c:pt idx="159">
                  <c:v>0</c:v>
                </c:pt>
                <c:pt idx="161">
                  <c:v>4.8474272279979997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7.2228241242319999</c:v>
                </c:pt>
                <c:pt idx="166">
                  <c:v>0</c:v>
                </c:pt>
                <c:pt idx="167">
                  <c:v>2.4061018743529998</c:v>
                </c:pt>
                <c:pt idx="168">
                  <c:v>0</c:v>
                </c:pt>
                <c:pt idx="169">
                  <c:v>4.810814711471</c:v>
                </c:pt>
                <c:pt idx="170">
                  <c:v>2.4020561600730002</c:v>
                </c:pt>
                <c:pt idx="171">
                  <c:v>9.5978500815810008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4.7812574707140003</c:v>
                </c:pt>
                <c:pt idx="176">
                  <c:v>0</c:v>
                </c:pt>
                <c:pt idx="177">
                  <c:v>2.3845291747139998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7.1009278545720003</c:v>
                </c:pt>
                <c:pt idx="185">
                  <c:v>2.3641220832640002</c:v>
                </c:pt>
                <c:pt idx="186">
                  <c:v>0</c:v>
                </c:pt>
                <c:pt idx="187">
                  <c:v>0</c:v>
                </c:pt>
                <c:pt idx="188">
                  <c:v>4.721212407346</c:v>
                </c:pt>
                <c:pt idx="189">
                  <c:v>2.3584349425719999</c:v>
                </c:pt>
                <c:pt idx="190">
                  <c:v>0</c:v>
                </c:pt>
                <c:pt idx="191">
                  <c:v>4.7082087619759996</c:v>
                </c:pt>
                <c:pt idx="192">
                  <c:v>2.3523323375120002</c:v>
                </c:pt>
                <c:pt idx="193">
                  <c:v>2.349679268779</c:v>
                </c:pt>
                <c:pt idx="194">
                  <c:v>0</c:v>
                </c:pt>
                <c:pt idx="195">
                  <c:v>0</c:v>
                </c:pt>
                <c:pt idx="196">
                  <c:v>2.346371336727</c:v>
                </c:pt>
                <c:pt idx="197">
                  <c:v>0</c:v>
                </c:pt>
                <c:pt idx="198">
                  <c:v>0</c:v>
                </c:pt>
                <c:pt idx="199">
                  <c:v>4.680771391125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2.3349755995039998</c:v>
                </c:pt>
                <c:pt idx="204">
                  <c:v>0</c:v>
                </c:pt>
                <c:pt idx="205">
                  <c:v>2.3306763622800002</c:v>
                </c:pt>
                <c:pt idx="206">
                  <c:v>0</c:v>
                </c:pt>
                <c:pt idx="207">
                  <c:v>2.3267176993410001</c:v>
                </c:pt>
                <c:pt idx="208">
                  <c:v>2.3257436565340002</c:v>
                </c:pt>
                <c:pt idx="209">
                  <c:v>0</c:v>
                </c:pt>
                <c:pt idx="210">
                  <c:v>0</c:v>
                </c:pt>
                <c:pt idx="211">
                  <c:v>9.2869912470100004</c:v>
                </c:pt>
                <c:pt idx="212">
                  <c:v>6.9600723847520003</c:v>
                </c:pt>
                <c:pt idx="213">
                  <c:v>0</c:v>
                </c:pt>
                <c:pt idx="214">
                  <c:v>2.3147076524229999</c:v>
                </c:pt>
                <c:pt idx="215">
                  <c:v>4.6286653243530003</c:v>
                </c:pt>
                <c:pt idx="216">
                  <c:v>2.3138507103519999</c:v>
                </c:pt>
                <c:pt idx="217">
                  <c:v>0</c:v>
                </c:pt>
                <c:pt idx="218">
                  <c:v>4.6216060080870003</c:v>
                </c:pt>
                <c:pt idx="219">
                  <c:v>0</c:v>
                </c:pt>
                <c:pt idx="220">
                  <c:v>0</c:v>
                </c:pt>
                <c:pt idx="221">
                  <c:v>6.9161076146339999</c:v>
                </c:pt>
                <c:pt idx="222">
                  <c:v>4.6097819573130003</c:v>
                </c:pt>
                <c:pt idx="223">
                  <c:v>0</c:v>
                </c:pt>
                <c:pt idx="224">
                  <c:v>9.2129810903559992</c:v>
                </c:pt>
                <c:pt idx="225">
                  <c:v>2.3023437859740001</c:v>
                </c:pt>
                <c:pt idx="226">
                  <c:v>0</c:v>
                </c:pt>
                <c:pt idx="227">
                  <c:v>2.3006487829559998</c:v>
                </c:pt>
                <c:pt idx="228">
                  <c:v>2.299855109128</c:v>
                </c:pt>
                <c:pt idx="229">
                  <c:v>0</c:v>
                </c:pt>
                <c:pt idx="230">
                  <c:v>2.2994849153780001</c:v>
                </c:pt>
                <c:pt idx="231">
                  <c:v>0</c:v>
                </c:pt>
                <c:pt idx="232">
                  <c:v>4.5962219055929996</c:v>
                </c:pt>
                <c:pt idx="233">
                  <c:v>2.2971607093630002</c:v>
                </c:pt>
                <c:pt idx="234">
                  <c:v>4.5912628268400004</c:v>
                </c:pt>
                <c:pt idx="235">
                  <c:v>4.5894717518009998</c:v>
                </c:pt>
                <c:pt idx="236">
                  <c:v>0</c:v>
                </c:pt>
                <c:pt idx="237">
                  <c:v>2.2944726154690001</c:v>
                </c:pt>
                <c:pt idx="238">
                  <c:v>9.1768376617410006</c:v>
                </c:pt>
                <c:pt idx="239">
                  <c:v>6.8807339449539997</c:v>
                </c:pt>
                <c:pt idx="240">
                  <c:v>4.5859989452200001</c:v>
                </c:pt>
                <c:pt idx="241">
                  <c:v>18.334326442681999</c:v>
                </c:pt>
                <c:pt idx="242">
                  <c:v>4.5814816511650003</c:v>
                </c:pt>
                <c:pt idx="243">
                  <c:v>11.453179402602</c:v>
                </c:pt>
                <c:pt idx="244">
                  <c:v>2.290583411594</c:v>
                </c:pt>
                <c:pt idx="245">
                  <c:v>0</c:v>
                </c:pt>
                <c:pt idx="246">
                  <c:v>4.5785449384180001</c:v>
                </c:pt>
                <c:pt idx="247">
                  <c:v>9.1558322651520001</c:v>
                </c:pt>
                <c:pt idx="248">
                  <c:v>11.438506588578999</c:v>
                </c:pt>
                <c:pt idx="249">
                  <c:v>11.431968356311</c:v>
                </c:pt>
                <c:pt idx="250">
                  <c:v>2.2862891241219998</c:v>
                </c:pt>
                <c:pt idx="251">
                  <c:v>2.286132321338</c:v>
                </c:pt>
                <c:pt idx="252">
                  <c:v>6.8566726853009996</c:v>
                </c:pt>
                <c:pt idx="253">
                  <c:v>15.998902932369999</c:v>
                </c:pt>
                <c:pt idx="254">
                  <c:v>13.704888076747</c:v>
                </c:pt>
                <c:pt idx="255">
                  <c:v>9.1340884179750006</c:v>
                </c:pt>
                <c:pt idx="256">
                  <c:v>11.413179940194</c:v>
                </c:pt>
                <c:pt idx="257">
                  <c:v>11.413179940194</c:v>
                </c:pt>
                <c:pt idx="258">
                  <c:v>13.695815928232999</c:v>
                </c:pt>
                <c:pt idx="259">
                  <c:v>29.670204267944001</c:v>
                </c:pt>
                <c:pt idx="260">
                  <c:v>27.377883233327999</c:v>
                </c:pt>
                <c:pt idx="261">
                  <c:v>25.090668552267999</c:v>
                </c:pt>
                <c:pt idx="262">
                  <c:v>22.800857312234001</c:v>
                </c:pt>
                <c:pt idx="263">
                  <c:v>25.075797296373</c:v>
                </c:pt>
                <c:pt idx="264">
                  <c:v>15.956961794473999</c:v>
                </c:pt>
                <c:pt idx="265">
                  <c:v>18.236527765112999</c:v>
                </c:pt>
                <c:pt idx="266">
                  <c:v>50.126455376061998</c:v>
                </c:pt>
                <c:pt idx="267">
                  <c:v>38.727902314561</c:v>
                </c:pt>
                <c:pt idx="268">
                  <c:v>38.722609448316</c:v>
                </c:pt>
                <c:pt idx="269">
                  <c:v>34.160005465600001</c:v>
                </c:pt>
                <c:pt idx="270">
                  <c:v>68.293571298488004</c:v>
                </c:pt>
                <c:pt idx="271">
                  <c:v>34.142899415018</c:v>
                </c:pt>
                <c:pt idx="272">
                  <c:v>36.418263759275</c:v>
                </c:pt>
                <c:pt idx="273">
                  <c:v>100.12287807764</c:v>
                </c:pt>
                <c:pt idx="274">
                  <c:v>56.884115679536997</c:v>
                </c:pt>
                <c:pt idx="275">
                  <c:v>61.418075112030998</c:v>
                </c:pt>
                <c:pt idx="276">
                  <c:v>45.480386583284997</c:v>
                </c:pt>
                <c:pt idx="277">
                  <c:v>63.636363636363001</c:v>
                </c:pt>
                <c:pt idx="278">
                  <c:v>40.903513157295997</c:v>
                </c:pt>
                <c:pt idx="279">
                  <c:v>34.085486399890002</c:v>
                </c:pt>
                <c:pt idx="280">
                  <c:v>84.046975444653</c:v>
                </c:pt>
                <c:pt idx="281">
                  <c:v>88.551836882974996</c:v>
                </c:pt>
                <c:pt idx="282">
                  <c:v>72.618345209457999</c:v>
                </c:pt>
                <c:pt idx="283">
                  <c:v>70.344232907484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4E6-4811-8DF5-DE90F2DCF1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85</c:f>
              <c:numCache>
                <c:formatCode>m/d/yyyy</c:formatCode>
                <c:ptCount val="2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</c:numCache>
            </c:numRef>
          </c:cat>
          <c:val>
            <c:numRef>
              <c:f>List1!$B$2:$B$285</c:f>
              <c:numCache>
                <c:formatCode>General</c:formatCode>
                <c:ptCount val="284"/>
                <c:pt idx="0">
                  <c:v>124.38176387052501</c:v>
                </c:pt>
                <c:pt idx="1">
                  <c:v>112.512583644223</c:v>
                </c:pt>
                <c:pt idx="2">
                  <c:v>135.30722699777101</c:v>
                </c:pt>
                <c:pt idx="3">
                  <c:v>110.073749412106</c:v>
                </c:pt>
                <c:pt idx="4">
                  <c:v>110.467276579933</c:v>
                </c:pt>
                <c:pt idx="5">
                  <c:v>53.399965743418001</c:v>
                </c:pt>
                <c:pt idx="6">
                  <c:v>30.31344097973</c:v>
                </c:pt>
                <c:pt idx="7">
                  <c:v>131.77653151910701</c:v>
                </c:pt>
                <c:pt idx="8">
                  <c:v>121.267399798924</c:v>
                </c:pt>
                <c:pt idx="9">
                  <c:v>107.447592963236</c:v>
                </c:pt>
                <c:pt idx="10">
                  <c:v>116.180251508729</c:v>
                </c:pt>
                <c:pt idx="11">
                  <c:v>112.760759255778</c:v>
                </c:pt>
                <c:pt idx="12">
                  <c:v>53.190310498437</c:v>
                </c:pt>
                <c:pt idx="13">
                  <c:v>29.987338679223999</c:v>
                </c:pt>
                <c:pt idx="14">
                  <c:v>141.16575591985401</c:v>
                </c:pt>
                <c:pt idx="15">
                  <c:v>138.44890296843801</c:v>
                </c:pt>
                <c:pt idx="16">
                  <c:v>137.498492341092</c:v>
                </c:pt>
                <c:pt idx="17">
                  <c:v>133.388184549409</c:v>
                </c:pt>
                <c:pt idx="18">
                  <c:v>157.68422132198299</c:v>
                </c:pt>
                <c:pt idx="19">
                  <c:v>73.351521078909997</c:v>
                </c:pt>
                <c:pt idx="20">
                  <c:v>42.603183619721001</c:v>
                </c:pt>
                <c:pt idx="21">
                  <c:v>159.99153763767799</c:v>
                </c:pt>
                <c:pt idx="22">
                  <c:v>205.26116782801199</c:v>
                </c:pt>
                <c:pt idx="23">
                  <c:v>170.853025063036</c:v>
                </c:pt>
                <c:pt idx="24">
                  <c:v>175.63826947125801</c:v>
                </c:pt>
                <c:pt idx="25">
                  <c:v>196.05317763562701</c:v>
                </c:pt>
                <c:pt idx="26">
                  <c:v>103.262818214413</c:v>
                </c:pt>
                <c:pt idx="27">
                  <c:v>50.232504736206998</c:v>
                </c:pt>
                <c:pt idx="28">
                  <c:v>168.48220769789299</c:v>
                </c:pt>
                <c:pt idx="29">
                  <c:v>200.87681998797601</c:v>
                </c:pt>
                <c:pt idx="30">
                  <c:v>162.71467242577901</c:v>
                </c:pt>
                <c:pt idx="31">
                  <c:v>162.88592008129299</c:v>
                </c:pt>
                <c:pt idx="32">
                  <c:v>164.26547712339499</c:v>
                </c:pt>
                <c:pt idx="33">
                  <c:v>90.455443156290997</c:v>
                </c:pt>
                <c:pt idx="34">
                  <c:v>54.297823562238001</c:v>
                </c:pt>
                <c:pt idx="35">
                  <c:v>157.795715239424</c:v>
                </c:pt>
                <c:pt idx="36">
                  <c:v>169.623618942832</c:v>
                </c:pt>
                <c:pt idx="37">
                  <c:v>185.919301803878</c:v>
                </c:pt>
                <c:pt idx="38">
                  <c:v>131.31266317529401</c:v>
                </c:pt>
                <c:pt idx="39">
                  <c:v>161.82236883052201</c:v>
                </c:pt>
                <c:pt idx="40">
                  <c:v>76.251536701887005</c:v>
                </c:pt>
                <c:pt idx="41">
                  <c:v>45.128460497035</c:v>
                </c:pt>
                <c:pt idx="42">
                  <c:v>154.53537923606399</c:v>
                </c:pt>
                <c:pt idx="43">
                  <c:v>139.46345744013999</c:v>
                </c:pt>
                <c:pt idx="44">
                  <c:v>140.12217394042401</c:v>
                </c:pt>
                <c:pt idx="45">
                  <c:v>128.095644748078</c:v>
                </c:pt>
                <c:pt idx="46">
                  <c:v>117.765011060362</c:v>
                </c:pt>
                <c:pt idx="47">
                  <c:v>44.562570623715999</c:v>
                </c:pt>
                <c:pt idx="48">
                  <c:v>35.016792143505</c:v>
                </c:pt>
                <c:pt idx="49">
                  <c:v>147.21177694215501</c:v>
                </c:pt>
                <c:pt idx="50">
                  <c:v>98.092818319234993</c:v>
                </c:pt>
                <c:pt idx="51">
                  <c:v>105.14396635393</c:v>
                </c:pt>
                <c:pt idx="52">
                  <c:v>75.087329829257001</c:v>
                </c:pt>
                <c:pt idx="53">
                  <c:v>85.753393030886997</c:v>
                </c:pt>
                <c:pt idx="54">
                  <c:v>44.57137197286</c:v>
                </c:pt>
                <c:pt idx="55">
                  <c:v>23.135906927551002</c:v>
                </c:pt>
                <c:pt idx="56">
                  <c:v>86.633457174748997</c:v>
                </c:pt>
                <c:pt idx="57">
                  <c:v>90.677055346586997</c:v>
                </c:pt>
                <c:pt idx="58">
                  <c:v>57.636887608069003</c:v>
                </c:pt>
                <c:pt idx="59">
                  <c:v>83.996160175534001</c:v>
                </c:pt>
                <c:pt idx="60">
                  <c:v>43.466921672607</c:v>
                </c:pt>
                <c:pt idx="61">
                  <c:v>36.542075589893003</c:v>
                </c:pt>
                <c:pt idx="62">
                  <c:v>40.034812880765003</c:v>
                </c:pt>
                <c:pt idx="63">
                  <c:v>36.917235074889</c:v>
                </c:pt>
                <c:pt idx="64">
                  <c:v>113.598040433802</c:v>
                </c:pt>
                <c:pt idx="65">
                  <c:v>86.081669984396996</c:v>
                </c:pt>
                <c:pt idx="66">
                  <c:v>61.758668919041</c:v>
                </c:pt>
                <c:pt idx="67">
                  <c:v>47.966939709245999</c:v>
                </c:pt>
                <c:pt idx="68">
                  <c:v>22.185656972766999</c:v>
                </c:pt>
                <c:pt idx="69">
                  <c:v>14.801657785671001</c:v>
                </c:pt>
                <c:pt idx="70">
                  <c:v>35.565871738235003</c:v>
                </c:pt>
                <c:pt idx="71">
                  <c:v>49.294706506901001</c:v>
                </c:pt>
                <c:pt idx="72">
                  <c:v>44.210364447178002</c:v>
                </c:pt>
                <c:pt idx="73">
                  <c:v>37.165268078945999</c:v>
                </c:pt>
                <c:pt idx="74">
                  <c:v>45.254210609160999</c:v>
                </c:pt>
                <c:pt idx="75">
                  <c:v>11.841326228537</c:v>
                </c:pt>
                <c:pt idx="76">
                  <c:v>9.8929581923579999</c:v>
                </c:pt>
                <c:pt idx="77">
                  <c:v>51.548435703239001</c:v>
                </c:pt>
                <c:pt idx="78">
                  <c:v>46.452446832145</c:v>
                </c:pt>
                <c:pt idx="79">
                  <c:v>34.823220943094</c:v>
                </c:pt>
                <c:pt idx="80">
                  <c:v>24.964114086001</c:v>
                </c:pt>
                <c:pt idx="81">
                  <c:v>16.930142001566001</c:v>
                </c:pt>
                <c:pt idx="82">
                  <c:v>17.021276595743998</c:v>
                </c:pt>
                <c:pt idx="83">
                  <c:v>6.3998634695790004</c:v>
                </c:pt>
                <c:pt idx="84">
                  <c:v>21.554975966200999</c:v>
                </c:pt>
                <c:pt idx="85">
                  <c:v>21.815008726003001</c:v>
                </c:pt>
                <c:pt idx="86">
                  <c:v>13.248250126962001</c:v>
                </c:pt>
                <c:pt idx="87">
                  <c:v>31.252092774068998</c:v>
                </c:pt>
                <c:pt idx="88">
                  <c:v>27.155465037338001</c:v>
                </c:pt>
                <c:pt idx="89">
                  <c:v>6.8034924594620003</c:v>
                </c:pt>
                <c:pt idx="90">
                  <c:v>6.8197317572170002</c:v>
                </c:pt>
                <c:pt idx="91">
                  <c:v>36.661931167223997</c:v>
                </c:pt>
                <c:pt idx="92">
                  <c:v>18.451886705414999</c:v>
                </c:pt>
                <c:pt idx="93">
                  <c:v>16.236402013313</c:v>
                </c:pt>
                <c:pt idx="94">
                  <c:v>11.676513860021</c:v>
                </c:pt>
                <c:pt idx="95">
                  <c:v>30.522880420745999</c:v>
                </c:pt>
                <c:pt idx="96">
                  <c:v>11.754748918562999</c:v>
                </c:pt>
                <c:pt idx="97">
                  <c:v>7.0659726311320004</c:v>
                </c:pt>
                <c:pt idx="98">
                  <c:v>23.638426626323</c:v>
                </c:pt>
                <c:pt idx="99">
                  <c:v>42.716787697565003</c:v>
                </c:pt>
                <c:pt idx="100">
                  <c:v>9.5394815291779995</c:v>
                </c:pt>
                <c:pt idx="101">
                  <c:v>16.771689388312002</c:v>
                </c:pt>
                <c:pt idx="102">
                  <c:v>14.444257204073001</c:v>
                </c:pt>
                <c:pt idx="103">
                  <c:v>0</c:v>
                </c:pt>
                <c:pt idx="104">
                  <c:v>2.4106260395820001</c:v>
                </c:pt>
                <c:pt idx="105">
                  <c:v>9.663703131039</c:v>
                </c:pt>
                <c:pt idx="106">
                  <c:v>4.8410911819519997</c:v>
                </c:pt>
                <c:pt idx="107">
                  <c:v>4.8566086301929996</c:v>
                </c:pt>
                <c:pt idx="108">
                  <c:v>9.7515785367749999</c:v>
                </c:pt>
                <c:pt idx="109">
                  <c:v>4.8953616448409996</c:v>
                </c:pt>
                <c:pt idx="110">
                  <c:v>7.3457394711059996</c:v>
                </c:pt>
                <c:pt idx="111">
                  <c:v>0</c:v>
                </c:pt>
                <c:pt idx="112">
                  <c:v>4.9109883364020002</c:v>
                </c:pt>
                <c:pt idx="113">
                  <c:v>9.8413088940819993</c:v>
                </c:pt>
                <c:pt idx="114">
                  <c:v>14.818839684852</c:v>
                </c:pt>
                <c:pt idx="115">
                  <c:v>7.4343914950560004</c:v>
                </c:pt>
                <c:pt idx="116">
                  <c:v>4.9761146496809996</c:v>
                </c:pt>
                <c:pt idx="117">
                  <c:v>0</c:v>
                </c:pt>
                <c:pt idx="118">
                  <c:v>0</c:v>
                </c:pt>
                <c:pt idx="119">
                  <c:v>7.5229449821949999</c:v>
                </c:pt>
                <c:pt idx="120">
                  <c:v>2.5245512610129999</c:v>
                </c:pt>
                <c:pt idx="121">
                  <c:v>0</c:v>
                </c:pt>
                <c:pt idx="122">
                  <c:v>10.262462477871001</c:v>
                </c:pt>
                <c:pt idx="123">
                  <c:v>2.5897342932609999</c:v>
                </c:pt>
                <c:pt idx="124">
                  <c:v>0</c:v>
                </c:pt>
                <c:pt idx="125">
                  <c:v>2.5964584306999998</c:v>
                </c:pt>
                <c:pt idx="126">
                  <c:v>2.615062761506</c:v>
                </c:pt>
                <c:pt idx="127">
                  <c:v>0</c:v>
                </c:pt>
                <c:pt idx="128">
                  <c:v>2.6522384892840001</c:v>
                </c:pt>
                <c:pt idx="129">
                  <c:v>2.67881060809</c:v>
                </c:pt>
                <c:pt idx="131">
                  <c:v>2.7176867050759999</c:v>
                </c:pt>
                <c:pt idx="132">
                  <c:v>2.724276023646</c:v>
                </c:pt>
                <c:pt idx="133">
                  <c:v>2.7413032155480002</c:v>
                </c:pt>
                <c:pt idx="135">
                  <c:v>0</c:v>
                </c:pt>
                <c:pt idx="136">
                  <c:v>5.6036535821350002</c:v>
                </c:pt>
                <c:pt idx="137">
                  <c:v>8.4836830496009998</c:v>
                </c:pt>
                <c:pt idx="138">
                  <c:v>0</c:v>
                </c:pt>
                <c:pt idx="139">
                  <c:v>0</c:v>
                </c:pt>
                <c:pt idx="142">
                  <c:v>5.7821850877439998</c:v>
                </c:pt>
                <c:pt idx="143">
                  <c:v>2.9114624275769998</c:v>
                </c:pt>
                <c:pt idx="145">
                  <c:v>0</c:v>
                </c:pt>
                <c:pt idx="146">
                  <c:v>2.9483739717540001</c:v>
                </c:pt>
                <c:pt idx="147">
                  <c:v>0</c:v>
                </c:pt>
                <c:pt idx="148">
                  <c:v>5.9655192984539998</c:v>
                </c:pt>
                <c:pt idx="150">
                  <c:v>3.0224264039170001</c:v>
                </c:pt>
                <c:pt idx="151">
                  <c:v>3.0440473653770002</c:v>
                </c:pt>
                <c:pt idx="153">
                  <c:v>3.0564215416590002</c:v>
                </c:pt>
                <c:pt idx="154">
                  <c:v>6.1443932411670001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3.1555695803089998</c:v>
                </c:pt>
                <c:pt idx="159">
                  <c:v>3.1600568810229999</c:v>
                </c:pt>
                <c:pt idx="161">
                  <c:v>3.1834967528329998</c:v>
                </c:pt>
                <c:pt idx="162">
                  <c:v>6.4106673504709999</c:v>
                </c:pt>
                <c:pt idx="163">
                  <c:v>3.2299741602059999</c:v>
                </c:pt>
                <c:pt idx="164">
                  <c:v>9.7643535997910007</c:v>
                </c:pt>
                <c:pt idx="165">
                  <c:v>0</c:v>
                </c:pt>
                <c:pt idx="166">
                  <c:v>0</c:v>
                </c:pt>
                <c:pt idx="167">
                  <c:v>6.5709498307979999</c:v>
                </c:pt>
                <c:pt idx="168">
                  <c:v>6.5772165219670002</c:v>
                </c:pt>
                <c:pt idx="169">
                  <c:v>3.2925062557609999</c:v>
                </c:pt>
                <c:pt idx="170">
                  <c:v>9.9400284947480007</c:v>
                </c:pt>
                <c:pt idx="171">
                  <c:v>0</c:v>
                </c:pt>
                <c:pt idx="172">
                  <c:v>6.6997186118179997</c:v>
                </c:pt>
                <c:pt idx="173">
                  <c:v>0</c:v>
                </c:pt>
                <c:pt idx="174">
                  <c:v>3.3612315552409999</c:v>
                </c:pt>
                <c:pt idx="175">
                  <c:v>3.3799770161559999</c:v>
                </c:pt>
                <c:pt idx="176">
                  <c:v>0</c:v>
                </c:pt>
                <c:pt idx="177">
                  <c:v>0</c:v>
                </c:pt>
                <c:pt idx="178">
                  <c:v>6.8806550383590004</c:v>
                </c:pt>
                <c:pt idx="179">
                  <c:v>0</c:v>
                </c:pt>
                <c:pt idx="180">
                  <c:v>3.4669255304390001</c:v>
                </c:pt>
                <c:pt idx="181">
                  <c:v>0</c:v>
                </c:pt>
                <c:pt idx="182">
                  <c:v>0</c:v>
                </c:pt>
                <c:pt idx="183">
                  <c:v>3.5193918490880001</c:v>
                </c:pt>
                <c:pt idx="184">
                  <c:v>3.542707336946</c:v>
                </c:pt>
                <c:pt idx="185">
                  <c:v>0</c:v>
                </c:pt>
                <c:pt idx="186">
                  <c:v>3.5914380117790001</c:v>
                </c:pt>
                <c:pt idx="187">
                  <c:v>0</c:v>
                </c:pt>
                <c:pt idx="188">
                  <c:v>0</c:v>
                </c:pt>
                <c:pt idx="189">
                  <c:v>7.2550513294880004</c:v>
                </c:pt>
                <c:pt idx="190">
                  <c:v>3.64990145266</c:v>
                </c:pt>
                <c:pt idx="191">
                  <c:v>3.670937190264</c:v>
                </c:pt>
                <c:pt idx="192">
                  <c:v>0</c:v>
                </c:pt>
                <c:pt idx="193">
                  <c:v>7.4159219844999997</c:v>
                </c:pt>
                <c:pt idx="194">
                  <c:v>7.434115154443</c:v>
                </c:pt>
                <c:pt idx="195">
                  <c:v>0</c:v>
                </c:pt>
                <c:pt idx="196">
                  <c:v>7.4752382732190004</c:v>
                </c:pt>
                <c:pt idx="197">
                  <c:v>7.5131480090149996</c:v>
                </c:pt>
                <c:pt idx="198">
                  <c:v>7.5522996752509997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1.566042100393</c:v>
                </c:pt>
                <c:pt idx="204">
                  <c:v>0</c:v>
                </c:pt>
                <c:pt idx="205">
                  <c:v>0</c:v>
                </c:pt>
                <c:pt idx="206">
                  <c:v>3.9194167907809998</c:v>
                </c:pt>
                <c:pt idx="207">
                  <c:v>0</c:v>
                </c:pt>
                <c:pt idx="208">
                  <c:v>7.8957757599680001</c:v>
                </c:pt>
                <c:pt idx="209">
                  <c:v>3.95381938953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16.155088852988001</c:v>
                </c:pt>
                <c:pt idx="214">
                  <c:v>8.126447523465</c:v>
                </c:pt>
                <c:pt idx="215">
                  <c:v>4.0653711683870002</c:v>
                </c:pt>
                <c:pt idx="216">
                  <c:v>0</c:v>
                </c:pt>
                <c:pt idx="217">
                  <c:v>4.0863027133049998</c:v>
                </c:pt>
                <c:pt idx="218">
                  <c:v>12.316282124969</c:v>
                </c:pt>
                <c:pt idx="219">
                  <c:v>0</c:v>
                </c:pt>
                <c:pt idx="220">
                  <c:v>8.2774604751260004</c:v>
                </c:pt>
                <c:pt idx="221">
                  <c:v>0</c:v>
                </c:pt>
                <c:pt idx="222">
                  <c:v>0</c:v>
                </c:pt>
                <c:pt idx="223">
                  <c:v>4.1562759767240003</c:v>
                </c:pt>
                <c:pt idx="224">
                  <c:v>8.3309034864830007</c:v>
                </c:pt>
                <c:pt idx="225">
                  <c:v>8.3500334001330003</c:v>
                </c:pt>
                <c:pt idx="226">
                  <c:v>8.3657506169739992</c:v>
                </c:pt>
                <c:pt idx="227">
                  <c:v>8.3839865856210007</c:v>
                </c:pt>
                <c:pt idx="228">
                  <c:v>21.005755577028001</c:v>
                </c:pt>
                <c:pt idx="229">
                  <c:v>4.2015041384809999</c:v>
                </c:pt>
                <c:pt idx="230">
                  <c:v>0</c:v>
                </c:pt>
                <c:pt idx="231">
                  <c:v>25.261030650049999</c:v>
                </c:pt>
                <c:pt idx="232">
                  <c:v>21.077480819491999</c:v>
                </c:pt>
                <c:pt idx="233">
                  <c:v>16.886899987334001</c:v>
                </c:pt>
                <c:pt idx="234">
                  <c:v>12.679092176999999</c:v>
                </c:pt>
                <c:pt idx="235">
                  <c:v>12.703789964005001</c:v>
                </c:pt>
                <c:pt idx="236">
                  <c:v>12.702714146589001</c:v>
                </c:pt>
                <c:pt idx="237">
                  <c:v>12.70002540005</c:v>
                </c:pt>
                <c:pt idx="238">
                  <c:v>8.4770906624840006</c:v>
                </c:pt>
                <c:pt idx="239">
                  <c:v>16.987301991761001</c:v>
                </c:pt>
                <c:pt idx="240">
                  <c:v>34.015051660358999</c:v>
                </c:pt>
                <c:pt idx="241">
                  <c:v>34.074452679102997</c:v>
                </c:pt>
                <c:pt idx="242">
                  <c:v>25.609287634982</c:v>
                </c:pt>
                <c:pt idx="243">
                  <c:v>12.812847014606</c:v>
                </c:pt>
                <c:pt idx="244">
                  <c:v>8.5455477696119999</c:v>
                </c:pt>
                <c:pt idx="245">
                  <c:v>17.127686905882999</c:v>
                </c:pt>
                <c:pt idx="246">
                  <c:v>34.318562052250002</c:v>
                </c:pt>
                <c:pt idx="247">
                  <c:v>21.490587122840001</c:v>
                </c:pt>
                <c:pt idx="248">
                  <c:v>12.919896640826</c:v>
                </c:pt>
                <c:pt idx="249">
                  <c:v>12.948895027623999</c:v>
                </c:pt>
                <c:pt idx="250">
                  <c:v>12.956724540035999</c:v>
                </c:pt>
                <c:pt idx="251">
                  <c:v>8.6415485655019992</c:v>
                </c:pt>
                <c:pt idx="252">
                  <c:v>34.626038781162997</c:v>
                </c:pt>
                <c:pt idx="253">
                  <c:v>25.979649274734001</c:v>
                </c:pt>
                <c:pt idx="254">
                  <c:v>30.376670716888999</c:v>
                </c:pt>
                <c:pt idx="255">
                  <c:v>43.451811940557</c:v>
                </c:pt>
                <c:pt idx="256">
                  <c:v>34.814395752643001</c:v>
                </c:pt>
                <c:pt idx="257">
                  <c:v>17.417051293216002</c:v>
                </c:pt>
                <c:pt idx="258">
                  <c:v>30.494445654541</c:v>
                </c:pt>
                <c:pt idx="259">
                  <c:v>87.263842226972997</c:v>
                </c:pt>
                <c:pt idx="260">
                  <c:v>74.287711938472</c:v>
                </c:pt>
                <c:pt idx="261">
                  <c:v>56.895268939559003</c:v>
                </c:pt>
                <c:pt idx="262">
                  <c:v>109.58663919694899</c:v>
                </c:pt>
                <c:pt idx="263">
                  <c:v>118.613539515881</c:v>
                </c:pt>
                <c:pt idx="264">
                  <c:v>43.956043956042997</c:v>
                </c:pt>
                <c:pt idx="265">
                  <c:v>26.384064025328001</c:v>
                </c:pt>
                <c:pt idx="266">
                  <c:v>110.103056460847</c:v>
                </c:pt>
                <c:pt idx="267">
                  <c:v>127.871599276864</c:v>
                </c:pt>
                <c:pt idx="268">
                  <c:v>163.39147714727301</c:v>
                </c:pt>
                <c:pt idx="269">
                  <c:v>57.511944788533</c:v>
                </c:pt>
                <c:pt idx="270">
                  <c:v>177.391458601268</c:v>
                </c:pt>
                <c:pt idx="271">
                  <c:v>137.55768548100801</c:v>
                </c:pt>
                <c:pt idx="272">
                  <c:v>71.025880055044993</c:v>
                </c:pt>
                <c:pt idx="273">
                  <c:v>208.97247788004</c:v>
                </c:pt>
                <c:pt idx="274">
                  <c:v>218.10736223626799</c:v>
                </c:pt>
                <c:pt idx="275">
                  <c:v>249.687890137328</c:v>
                </c:pt>
                <c:pt idx="276">
                  <c:v>156.38264599436999</c:v>
                </c:pt>
                <c:pt idx="277">
                  <c:v>156.83814303638599</c:v>
                </c:pt>
                <c:pt idx="278">
                  <c:v>139.050865703776</c:v>
                </c:pt>
                <c:pt idx="279">
                  <c:v>40.407668477527999</c:v>
                </c:pt>
                <c:pt idx="280">
                  <c:v>265.45487267164498</c:v>
                </c:pt>
                <c:pt idx="281">
                  <c:v>239.25604911520401</c:v>
                </c:pt>
                <c:pt idx="282">
                  <c:v>294.464075382803</c:v>
                </c:pt>
                <c:pt idx="283">
                  <c:v>181.4305801242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44D-4BF9-82B7-FD2097BC73C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85</c:f>
              <c:numCache>
                <c:formatCode>m/d/yyyy</c:formatCode>
                <c:ptCount val="2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</c:numCache>
            </c:numRef>
          </c:cat>
          <c:val>
            <c:numRef>
              <c:f>List1!$C$2:$C$285</c:f>
              <c:numCache>
                <c:formatCode>General</c:formatCode>
                <c:ptCount val="28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5.284450063211001</c:v>
                </c:pt>
                <c:pt idx="10">
                  <c:v>10.121457489878001</c:v>
                </c:pt>
                <c:pt idx="11">
                  <c:v>32.307568047815003</c:v>
                </c:pt>
                <c:pt idx="12">
                  <c:v>0</c:v>
                </c:pt>
                <c:pt idx="13">
                  <c:v>0</c:v>
                </c:pt>
                <c:pt idx="14">
                  <c:v>6.6688896298760003</c:v>
                </c:pt>
                <c:pt idx="15">
                  <c:v>0</c:v>
                </c:pt>
                <c:pt idx="16">
                  <c:v>5.0190724754060003</c:v>
                </c:pt>
                <c:pt idx="17">
                  <c:v>17.686593562079</c:v>
                </c:pt>
                <c:pt idx="18">
                  <c:v>12.0831319478</c:v>
                </c:pt>
                <c:pt idx="19">
                  <c:v>0</c:v>
                </c:pt>
                <c:pt idx="20">
                  <c:v>0</c:v>
                </c:pt>
                <c:pt idx="21">
                  <c:v>18.382352941175998</c:v>
                </c:pt>
                <c:pt idx="22">
                  <c:v>17.375590770085999</c:v>
                </c:pt>
                <c:pt idx="23">
                  <c:v>33.056758454265001</c:v>
                </c:pt>
                <c:pt idx="24">
                  <c:v>12.635036957483001</c:v>
                </c:pt>
                <c:pt idx="25">
                  <c:v>30.351777096549</c:v>
                </c:pt>
                <c:pt idx="26">
                  <c:v>12.084592145015</c:v>
                </c:pt>
                <c:pt idx="27">
                  <c:v>21.117412815251999</c:v>
                </c:pt>
                <c:pt idx="28">
                  <c:v>41.199493834789997</c:v>
                </c:pt>
                <c:pt idx="29">
                  <c:v>17.322516384212999</c:v>
                </c:pt>
                <c:pt idx="30">
                  <c:v>22.700187276545002</c:v>
                </c:pt>
                <c:pt idx="31">
                  <c:v>19.480158067567999</c:v>
                </c:pt>
                <c:pt idx="32">
                  <c:v>35.612535612534998</c:v>
                </c:pt>
                <c:pt idx="33">
                  <c:v>2.7369515833259999</c:v>
                </c:pt>
                <c:pt idx="34">
                  <c:v>8.2025482583250007</c:v>
                </c:pt>
                <c:pt idx="35">
                  <c:v>18.93171061528</c:v>
                </c:pt>
                <c:pt idx="36">
                  <c:v>29.370928121327999</c:v>
                </c:pt>
                <c:pt idx="37">
                  <c:v>2.6443833298069999</c:v>
                </c:pt>
                <c:pt idx="38">
                  <c:v>18.336607727570001</c:v>
                </c:pt>
                <c:pt idx="39">
                  <c:v>23.288309268747</c:v>
                </c:pt>
                <c:pt idx="40">
                  <c:v>12.933264355923001</c:v>
                </c:pt>
                <c:pt idx="41">
                  <c:v>7.758353160235</c:v>
                </c:pt>
                <c:pt idx="42">
                  <c:v>25.724134382877999</c:v>
                </c:pt>
                <c:pt idx="43">
                  <c:v>12.778572888978999</c:v>
                </c:pt>
                <c:pt idx="44">
                  <c:v>12.678770666396</c:v>
                </c:pt>
                <c:pt idx="45">
                  <c:v>10.06897246136</c:v>
                </c:pt>
                <c:pt idx="46">
                  <c:v>17.443309244952999</c:v>
                </c:pt>
                <c:pt idx="47">
                  <c:v>2.4911563947980002</c:v>
                </c:pt>
                <c:pt idx="48">
                  <c:v>4.980575754557</c:v>
                </c:pt>
                <c:pt idx="49">
                  <c:v>17.286084701815</c:v>
                </c:pt>
                <c:pt idx="50">
                  <c:v>12.251298637654999</c:v>
                </c:pt>
                <c:pt idx="51">
                  <c:v>19.424076142377999</c:v>
                </c:pt>
                <c:pt idx="52">
                  <c:v>11.975761059614999</c:v>
                </c:pt>
                <c:pt idx="53">
                  <c:v>11.797461186352001</c:v>
                </c:pt>
                <c:pt idx="54">
                  <c:v>7.0668048619609998</c:v>
                </c:pt>
                <c:pt idx="55">
                  <c:v>9.4064528266390006</c:v>
                </c:pt>
                <c:pt idx="56">
                  <c:v>13.946677204156</c:v>
                </c:pt>
                <c:pt idx="57">
                  <c:v>2.298850574712</c:v>
                </c:pt>
                <c:pt idx="58">
                  <c:v>9.0764692534600009</c:v>
                </c:pt>
                <c:pt idx="59">
                  <c:v>4.4705724568029996</c:v>
                </c:pt>
                <c:pt idx="60">
                  <c:v>4.3887560071090004</c:v>
                </c:pt>
                <c:pt idx="61">
                  <c:v>8.7657784011220006</c:v>
                </c:pt>
                <c:pt idx="62">
                  <c:v>2.1899568578489998</c:v>
                </c:pt>
                <c:pt idx="63">
                  <c:v>4.3250724449630003</c:v>
                </c:pt>
                <c:pt idx="64">
                  <c:v>14.956945364415001</c:v>
                </c:pt>
                <c:pt idx="65">
                  <c:v>4.2201215395</c:v>
                </c:pt>
                <c:pt idx="66">
                  <c:v>6.2353210151100003</c:v>
                </c:pt>
                <c:pt idx="67">
                  <c:v>4.083632799738</c:v>
                </c:pt>
                <c:pt idx="68">
                  <c:v>6.1094819159330003</c:v>
                </c:pt>
                <c:pt idx="69">
                  <c:v>2.034256885959</c:v>
                </c:pt>
                <c:pt idx="70">
                  <c:v>12.048676653679999</c:v>
                </c:pt>
                <c:pt idx="71">
                  <c:v>3.9612588880740001</c:v>
                </c:pt>
                <c:pt idx="72">
                  <c:v>7.8091445082190001</c:v>
                </c:pt>
                <c:pt idx="73">
                  <c:v>5.7540710052359998</c:v>
                </c:pt>
                <c:pt idx="74">
                  <c:v>3.8132280882380001</c:v>
                </c:pt>
                <c:pt idx="75">
                  <c:v>3.8010528916499999</c:v>
                </c:pt>
                <c:pt idx="76">
                  <c:v>1.8954112094610001</c:v>
                </c:pt>
                <c:pt idx="77">
                  <c:v>3.7825059101649998</c:v>
                </c:pt>
                <c:pt idx="78">
                  <c:v>9.2912624967480006</c:v>
                </c:pt>
                <c:pt idx="79">
                  <c:v>11.004732034773999</c:v>
                </c:pt>
                <c:pt idx="80">
                  <c:v>1.8088416178269999</c:v>
                </c:pt>
                <c:pt idx="81">
                  <c:v>3.5641729336700001</c:v>
                </c:pt>
                <c:pt idx="82">
                  <c:v>1.7736786094350001</c:v>
                </c:pt>
                <c:pt idx="83">
                  <c:v>1.7693791248649999</c:v>
                </c:pt>
                <c:pt idx="84">
                  <c:v>3.5079103378109999</c:v>
                </c:pt>
                <c:pt idx="85">
                  <c:v>1.7367141368529999</c:v>
                </c:pt>
                <c:pt idx="86">
                  <c:v>0</c:v>
                </c:pt>
                <c:pt idx="87">
                  <c:v>3.4100596760439998</c:v>
                </c:pt>
                <c:pt idx="88">
                  <c:v>6.7487767842070001</c:v>
                </c:pt>
                <c:pt idx="89">
                  <c:v>3.368534519057</c:v>
                </c:pt>
                <c:pt idx="90">
                  <c:v>1.68146354587</c:v>
                </c:pt>
                <c:pt idx="91">
                  <c:v>5.0155481994180002</c:v>
                </c:pt>
                <c:pt idx="92">
                  <c:v>9.9843578393839998</c:v>
                </c:pt>
                <c:pt idx="93">
                  <c:v>6.630090666489</c:v>
                </c:pt>
                <c:pt idx="94">
                  <c:v>3.2994044574950001</c:v>
                </c:pt>
                <c:pt idx="95">
                  <c:v>3.2872029190359999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1.632093486314</c:v>
                </c:pt>
                <c:pt idx="100">
                  <c:v>3.2535137948980002</c:v>
                </c:pt>
                <c:pt idx="101">
                  <c:v>3.2435412983890002</c:v>
                </c:pt>
                <c:pt idx="102">
                  <c:v>1.6167364557899999</c:v>
                </c:pt>
                <c:pt idx="103">
                  <c:v>1.6161354967999999</c:v>
                </c:pt>
                <c:pt idx="104">
                  <c:v>0</c:v>
                </c:pt>
                <c:pt idx="105">
                  <c:v>4.8401148720589999</c:v>
                </c:pt>
                <c:pt idx="106">
                  <c:v>1.611473692691</c:v>
                </c:pt>
                <c:pt idx="107">
                  <c:v>1.608182432215</c:v>
                </c:pt>
                <c:pt idx="108">
                  <c:v>3.2083159549550002</c:v>
                </c:pt>
                <c:pt idx="109">
                  <c:v>1.6001024065539999</c:v>
                </c:pt>
                <c:pt idx="110">
                  <c:v>0</c:v>
                </c:pt>
                <c:pt idx="111">
                  <c:v>0</c:v>
                </c:pt>
                <c:pt idx="112">
                  <c:v>1.5972399693320001</c:v>
                </c:pt>
                <c:pt idx="113">
                  <c:v>3.1906577540960002</c:v>
                </c:pt>
                <c:pt idx="114">
                  <c:v>0</c:v>
                </c:pt>
                <c:pt idx="115">
                  <c:v>0</c:v>
                </c:pt>
                <c:pt idx="116">
                  <c:v>1.5843341043750001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1.554992302787999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1.5310653152460001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1.5024264186659999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1.4714537963500001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1.4384349827380001</c:v>
                </c:pt>
                <c:pt idx="148">
                  <c:v>0</c:v>
                </c:pt>
                <c:pt idx="150">
                  <c:v>0</c:v>
                </c:pt>
                <c:pt idx="151">
                  <c:v>1.420333494304</c:v>
                </c:pt>
                <c:pt idx="153">
                  <c:v>0</c:v>
                </c:pt>
                <c:pt idx="154">
                  <c:v>2.8269749954060002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1.389274798555</c:v>
                </c:pt>
                <c:pt idx="162">
                  <c:v>1.3848881010409999</c:v>
                </c:pt>
                <c:pt idx="163">
                  <c:v>2.76018161995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4.1051464853099997</c:v>
                </c:pt>
                <c:pt idx="169">
                  <c:v>0</c:v>
                </c:pt>
                <c:pt idx="170">
                  <c:v>1.363642562011</c:v>
                </c:pt>
                <c:pt idx="171">
                  <c:v>0</c:v>
                </c:pt>
                <c:pt idx="172">
                  <c:v>2.7141092971809999</c:v>
                </c:pt>
                <c:pt idx="173">
                  <c:v>1.3557299928140001</c:v>
                </c:pt>
                <c:pt idx="174">
                  <c:v>0</c:v>
                </c:pt>
                <c:pt idx="175">
                  <c:v>2.7028488026369999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1.337917932114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1.32943366126</c:v>
                </c:pt>
                <c:pt idx="184">
                  <c:v>0</c:v>
                </c:pt>
                <c:pt idx="185">
                  <c:v>1.322576378785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1.3123531804869999</c:v>
                </c:pt>
                <c:pt idx="191">
                  <c:v>1.309740540398</c:v>
                </c:pt>
                <c:pt idx="192">
                  <c:v>1.3074800936149999</c:v>
                </c:pt>
                <c:pt idx="193">
                  <c:v>0</c:v>
                </c:pt>
                <c:pt idx="194">
                  <c:v>1.3042400845140001</c:v>
                </c:pt>
                <c:pt idx="195">
                  <c:v>1.303509046352</c:v>
                </c:pt>
                <c:pt idx="196">
                  <c:v>1.3018968637299999</c:v>
                </c:pt>
                <c:pt idx="197">
                  <c:v>1.2996971705589999</c:v>
                </c:pt>
                <c:pt idx="198">
                  <c:v>0</c:v>
                </c:pt>
                <c:pt idx="199">
                  <c:v>1.2954710332670001</c:v>
                </c:pt>
                <c:pt idx="200">
                  <c:v>0</c:v>
                </c:pt>
                <c:pt idx="201">
                  <c:v>0</c:v>
                </c:pt>
                <c:pt idx="202">
                  <c:v>1.2914890869169999</c:v>
                </c:pt>
                <c:pt idx="203">
                  <c:v>2.577618538232</c:v>
                </c:pt>
                <c:pt idx="204">
                  <c:v>2.5737375817160002</c:v>
                </c:pt>
                <c:pt idx="205">
                  <c:v>0</c:v>
                </c:pt>
                <c:pt idx="206">
                  <c:v>1.2820512820509999</c:v>
                </c:pt>
                <c:pt idx="207">
                  <c:v>1.2796887796880001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2.5492970313429999</c:v>
                </c:pt>
                <c:pt idx="212">
                  <c:v>1.2722484446760001</c:v>
                </c:pt>
                <c:pt idx="213">
                  <c:v>2.539714790029</c:v>
                </c:pt>
                <c:pt idx="214">
                  <c:v>5.0691945049929998</c:v>
                </c:pt>
                <c:pt idx="215">
                  <c:v>0</c:v>
                </c:pt>
                <c:pt idx="216">
                  <c:v>1.2664800719360001</c:v>
                </c:pt>
                <c:pt idx="217">
                  <c:v>1.264558226583</c:v>
                </c:pt>
                <c:pt idx="218">
                  <c:v>2.52515687537</c:v>
                </c:pt>
                <c:pt idx="219">
                  <c:v>1.2609068442019999</c:v>
                </c:pt>
                <c:pt idx="220">
                  <c:v>2.518257365902</c:v>
                </c:pt>
                <c:pt idx="221">
                  <c:v>0</c:v>
                </c:pt>
                <c:pt idx="222">
                  <c:v>1.257339720619</c:v>
                </c:pt>
                <c:pt idx="223">
                  <c:v>1.257007818588</c:v>
                </c:pt>
                <c:pt idx="224">
                  <c:v>1.2559973875249999</c:v>
                </c:pt>
                <c:pt idx="225">
                  <c:v>2.5099456596760001</c:v>
                </c:pt>
                <c:pt idx="226">
                  <c:v>1.2540914734319999</c:v>
                </c:pt>
                <c:pt idx="227">
                  <c:v>7.5187027731480001</c:v>
                </c:pt>
                <c:pt idx="228">
                  <c:v>1.2521286186509999</c:v>
                </c:pt>
                <c:pt idx="229">
                  <c:v>1.2519405077870001</c:v>
                </c:pt>
                <c:pt idx="230">
                  <c:v>2.5037242898810002</c:v>
                </c:pt>
                <c:pt idx="231">
                  <c:v>5.0033772796629998</c:v>
                </c:pt>
                <c:pt idx="232">
                  <c:v>2.5004063160259999</c:v>
                </c:pt>
                <c:pt idx="233">
                  <c:v>2.4989691752150001</c:v>
                </c:pt>
                <c:pt idx="234">
                  <c:v>2.4978456081620002</c:v>
                </c:pt>
                <c:pt idx="235">
                  <c:v>4.9921373836200003</c:v>
                </c:pt>
                <c:pt idx="236">
                  <c:v>3.7437292535000002</c:v>
                </c:pt>
                <c:pt idx="237">
                  <c:v>3.7434489643119999</c:v>
                </c:pt>
                <c:pt idx="238">
                  <c:v>3.7416281071099999</c:v>
                </c:pt>
                <c:pt idx="239">
                  <c:v>6.2316167306440002</c:v>
                </c:pt>
                <c:pt idx="240">
                  <c:v>4.9829334529229996</c:v>
                </c:pt>
                <c:pt idx="241">
                  <c:v>9.9594153823169993</c:v>
                </c:pt>
                <c:pt idx="242">
                  <c:v>2.488212095198</c:v>
                </c:pt>
                <c:pt idx="243">
                  <c:v>2.487964471867</c:v>
                </c:pt>
                <c:pt idx="244">
                  <c:v>7.4635220360480004</c:v>
                </c:pt>
                <c:pt idx="245">
                  <c:v>7.4595320386899999</c:v>
                </c:pt>
                <c:pt idx="246">
                  <c:v>6.2134957126870001</c:v>
                </c:pt>
                <c:pt idx="247">
                  <c:v>4.9683886273580002</c:v>
                </c:pt>
                <c:pt idx="248">
                  <c:v>6.207478770422</c:v>
                </c:pt>
                <c:pt idx="249">
                  <c:v>6.2039357768560004</c:v>
                </c:pt>
                <c:pt idx="250">
                  <c:v>2.4813587920739999</c:v>
                </c:pt>
                <c:pt idx="251">
                  <c:v>2.4812664383900001</c:v>
                </c:pt>
                <c:pt idx="252">
                  <c:v>11.160991096009001</c:v>
                </c:pt>
                <c:pt idx="253">
                  <c:v>16.121031746031001</c:v>
                </c:pt>
                <c:pt idx="254">
                  <c:v>18.590816136828</c:v>
                </c:pt>
                <c:pt idx="255">
                  <c:v>11.151310898547001</c:v>
                </c:pt>
                <c:pt idx="256">
                  <c:v>11.147443519618999</c:v>
                </c:pt>
                <c:pt idx="257">
                  <c:v>7.4309847293260001</c:v>
                </c:pt>
                <c:pt idx="258">
                  <c:v>3.7153083086669998</c:v>
                </c:pt>
                <c:pt idx="259">
                  <c:v>18.569872239277998</c:v>
                </c:pt>
                <c:pt idx="260">
                  <c:v>14.850566177835001</c:v>
                </c:pt>
                <c:pt idx="261">
                  <c:v>16.082540546558</c:v>
                </c:pt>
                <c:pt idx="262">
                  <c:v>33.389807452109999</c:v>
                </c:pt>
                <c:pt idx="263">
                  <c:v>19.776036387906</c:v>
                </c:pt>
                <c:pt idx="264">
                  <c:v>29.661854854655999</c:v>
                </c:pt>
                <c:pt idx="265">
                  <c:v>6.1793239819560002</c:v>
                </c:pt>
                <c:pt idx="266">
                  <c:v>50.652928604079001</c:v>
                </c:pt>
                <c:pt idx="267">
                  <c:v>48.169556840077</c:v>
                </c:pt>
                <c:pt idx="268">
                  <c:v>49.388203627563001</c:v>
                </c:pt>
                <c:pt idx="269">
                  <c:v>25.917926565874001</c:v>
                </c:pt>
                <c:pt idx="270">
                  <c:v>50.571083207933</c:v>
                </c:pt>
                <c:pt idx="271">
                  <c:v>39.467192895905001</c:v>
                </c:pt>
                <c:pt idx="272">
                  <c:v>25.899387047838999</c:v>
                </c:pt>
                <c:pt idx="273">
                  <c:v>78.908109041143007</c:v>
                </c:pt>
                <c:pt idx="274">
                  <c:v>67.799953156396001</c:v>
                </c:pt>
                <c:pt idx="275">
                  <c:v>76.403608222014</c:v>
                </c:pt>
                <c:pt idx="276">
                  <c:v>80.065037445802005</c:v>
                </c:pt>
                <c:pt idx="277">
                  <c:v>94.783229523128995</c:v>
                </c:pt>
                <c:pt idx="278">
                  <c:v>64.000787702002</c:v>
                </c:pt>
                <c:pt idx="279">
                  <c:v>24.612658290157999</c:v>
                </c:pt>
                <c:pt idx="280">
                  <c:v>86.106156590195994</c:v>
                </c:pt>
                <c:pt idx="281">
                  <c:v>106.93478207428799</c:v>
                </c:pt>
                <c:pt idx="282">
                  <c:v>110.531163647528</c:v>
                </c:pt>
                <c:pt idx="283">
                  <c:v>66.305669134710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44D-4BF9-82B7-FD2097BC73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85</c:f>
              <c:numCache>
                <c:formatCode>m/d/yyyy</c:formatCode>
                <c:ptCount val="2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</c:numCache>
            </c:numRef>
          </c:cat>
          <c:val>
            <c:numRef>
              <c:f>List1!$B$2:$B$285</c:f>
              <c:numCache>
                <c:formatCode>General</c:formatCode>
                <c:ptCount val="284"/>
                <c:pt idx="0">
                  <c:v>109.988238881386</c:v>
                </c:pt>
                <c:pt idx="1">
                  <c:v>141.24448434813999</c:v>
                </c:pt>
                <c:pt idx="2">
                  <c:v>146.374211725344</c:v>
                </c:pt>
                <c:pt idx="3">
                  <c:v>85.014297859185007</c:v>
                </c:pt>
                <c:pt idx="4">
                  <c:v>111.747914407736</c:v>
                </c:pt>
                <c:pt idx="5">
                  <c:v>49.889135254987998</c:v>
                </c:pt>
                <c:pt idx="6">
                  <c:v>42.217062359045002</c:v>
                </c:pt>
                <c:pt idx="7">
                  <c:v>138.635779211341</c:v>
                </c:pt>
                <c:pt idx="8">
                  <c:v>163.77148794867699</c:v>
                </c:pt>
                <c:pt idx="9">
                  <c:v>146.59733834207501</c:v>
                </c:pt>
                <c:pt idx="10">
                  <c:v>112.84974696061801</c:v>
                </c:pt>
                <c:pt idx="11">
                  <c:v>118.591606086121</c:v>
                </c:pt>
                <c:pt idx="12">
                  <c:v>60.622630071201002</c:v>
                </c:pt>
                <c:pt idx="13">
                  <c:v>25.024130411468001</c:v>
                </c:pt>
                <c:pt idx="14">
                  <c:v>143.20040775709299</c:v>
                </c:pt>
                <c:pt idx="15">
                  <c:v>142.929939472277</c:v>
                </c:pt>
                <c:pt idx="16">
                  <c:v>157.99599913357</c:v>
                </c:pt>
                <c:pt idx="17">
                  <c:v>157.94282730713999</c:v>
                </c:pt>
                <c:pt idx="18">
                  <c:v>139.651801508239</c:v>
                </c:pt>
                <c:pt idx="19">
                  <c:v>73.304988737688006</c:v>
                </c:pt>
                <c:pt idx="20">
                  <c:v>40.087658346250002</c:v>
                </c:pt>
                <c:pt idx="21">
                  <c:v>158.96955121672801</c:v>
                </c:pt>
                <c:pt idx="22">
                  <c:v>198.47286159274401</c:v>
                </c:pt>
                <c:pt idx="23">
                  <c:v>185.86841075521201</c:v>
                </c:pt>
                <c:pt idx="24">
                  <c:v>193.74637609424201</c:v>
                </c:pt>
                <c:pt idx="25">
                  <c:v>190.258207567412</c:v>
                </c:pt>
                <c:pt idx="26">
                  <c:v>103.126745635017</c:v>
                </c:pt>
                <c:pt idx="27">
                  <c:v>41.554421963660999</c:v>
                </c:pt>
                <c:pt idx="28">
                  <c:v>208.020339766554</c:v>
                </c:pt>
                <c:pt idx="29">
                  <c:v>225.40536610194101</c:v>
                </c:pt>
                <c:pt idx="30">
                  <c:v>220.65055381827699</c:v>
                </c:pt>
                <c:pt idx="31">
                  <c:v>207.212767833524</c:v>
                </c:pt>
                <c:pt idx="32">
                  <c:v>181.72684829501799</c:v>
                </c:pt>
                <c:pt idx="33">
                  <c:v>87.178805207086</c:v>
                </c:pt>
                <c:pt idx="34">
                  <c:v>38.416643271915</c:v>
                </c:pt>
                <c:pt idx="35">
                  <c:v>154.266049602468</c:v>
                </c:pt>
                <c:pt idx="36">
                  <c:v>195.11759186166</c:v>
                </c:pt>
                <c:pt idx="37">
                  <c:v>176.36684303350901</c:v>
                </c:pt>
                <c:pt idx="38">
                  <c:v>145.62378021318099</c:v>
                </c:pt>
                <c:pt idx="39">
                  <c:v>179.381660863142</c:v>
                </c:pt>
                <c:pt idx="40">
                  <c:v>88.933104217538997</c:v>
                </c:pt>
                <c:pt idx="41">
                  <c:v>42.208722130936998</c:v>
                </c:pt>
                <c:pt idx="42">
                  <c:v>139.07785336356699</c:v>
                </c:pt>
                <c:pt idx="43">
                  <c:v>174.363950632258</c:v>
                </c:pt>
                <c:pt idx="44">
                  <c:v>138.449367088607</c:v>
                </c:pt>
                <c:pt idx="45">
                  <c:v>118.976799524092</c:v>
                </c:pt>
                <c:pt idx="46">
                  <c:v>97.982179491105001</c:v>
                </c:pt>
                <c:pt idx="47">
                  <c:v>38.268430075924002</c:v>
                </c:pt>
                <c:pt idx="48">
                  <c:v>22.961409524392</c:v>
                </c:pt>
                <c:pt idx="49">
                  <c:v>121.45437773848801</c:v>
                </c:pt>
                <c:pt idx="50">
                  <c:v>108.091414453366</c:v>
                </c:pt>
                <c:pt idx="51">
                  <c:v>89.978281104559997</c:v>
                </c:pt>
                <c:pt idx="52">
                  <c:v>95.319946870848995</c:v>
                </c:pt>
                <c:pt idx="53">
                  <c:v>88.201477374746005</c:v>
                </c:pt>
                <c:pt idx="54">
                  <c:v>28.371477208245999</c:v>
                </c:pt>
                <c:pt idx="55">
                  <c:v>9.4668581075749998</c:v>
                </c:pt>
                <c:pt idx="56">
                  <c:v>97.146133265383995</c:v>
                </c:pt>
                <c:pt idx="57">
                  <c:v>115.735159376959</c:v>
                </c:pt>
                <c:pt idx="58">
                  <c:v>92.660326749573002</c:v>
                </c:pt>
                <c:pt idx="59">
                  <c:v>50.919842312745999</c:v>
                </c:pt>
                <c:pt idx="60">
                  <c:v>29.980512666766</c:v>
                </c:pt>
                <c:pt idx="61">
                  <c:v>13.345789403443</c:v>
                </c:pt>
                <c:pt idx="62">
                  <c:v>26.718322089371998</c:v>
                </c:pt>
                <c:pt idx="63">
                  <c:v>15.214782005984</c:v>
                </c:pt>
                <c:pt idx="64">
                  <c:v>78.779263927659997</c:v>
                </c:pt>
                <c:pt idx="65">
                  <c:v>65.969931599597004</c:v>
                </c:pt>
                <c:pt idx="66">
                  <c:v>72.142454954954005</c:v>
                </c:pt>
                <c:pt idx="67">
                  <c:v>59.085781812321997</c:v>
                </c:pt>
                <c:pt idx="68">
                  <c:v>23.328847016598999</c:v>
                </c:pt>
                <c:pt idx="69">
                  <c:v>7.1846822574270002</c:v>
                </c:pt>
                <c:pt idx="70">
                  <c:v>47.329522699967001</c:v>
                </c:pt>
                <c:pt idx="71">
                  <c:v>53.485798598302999</c:v>
                </c:pt>
                <c:pt idx="72">
                  <c:v>44.929516820487002</c:v>
                </c:pt>
                <c:pt idx="73">
                  <c:v>30.493615399275001</c:v>
                </c:pt>
                <c:pt idx="74">
                  <c:v>36.424285413032003</c:v>
                </c:pt>
                <c:pt idx="75">
                  <c:v>13.469309216855001</c:v>
                </c:pt>
                <c:pt idx="76">
                  <c:v>7.7154540544710004</c:v>
                </c:pt>
                <c:pt idx="77">
                  <c:v>42.524403208659002</c:v>
                </c:pt>
                <c:pt idx="78">
                  <c:v>43.270460043663</c:v>
                </c:pt>
                <c:pt idx="79">
                  <c:v>51.756743306459001</c:v>
                </c:pt>
                <c:pt idx="80">
                  <c:v>20.208960653152999</c:v>
                </c:pt>
                <c:pt idx="81">
                  <c:v>28.801843317972001</c:v>
                </c:pt>
                <c:pt idx="82">
                  <c:v>8.2884376295059994</c:v>
                </c:pt>
                <c:pt idx="83">
                  <c:v>4.15696707682</c:v>
                </c:pt>
                <c:pt idx="84">
                  <c:v>27.267388203707998</c:v>
                </c:pt>
                <c:pt idx="85">
                  <c:v>33.937851309788002</c:v>
                </c:pt>
                <c:pt idx="86">
                  <c:v>23.605656773749999</c:v>
                </c:pt>
                <c:pt idx="87">
                  <c:v>41.215644590987999</c:v>
                </c:pt>
                <c:pt idx="88">
                  <c:v>35.167926850712</c:v>
                </c:pt>
                <c:pt idx="89">
                  <c:v>13.215567939032001</c:v>
                </c:pt>
                <c:pt idx="90">
                  <c:v>8.8288526905920008</c:v>
                </c:pt>
                <c:pt idx="91">
                  <c:v>22.213336887467001</c:v>
                </c:pt>
                <c:pt idx="92">
                  <c:v>31.297505141732</c:v>
                </c:pt>
                <c:pt idx="93">
                  <c:v>26.989339211011</c:v>
                </c:pt>
                <c:pt idx="94">
                  <c:v>29.407772700538001</c:v>
                </c:pt>
                <c:pt idx="95">
                  <c:v>29.587145523237002</c:v>
                </c:pt>
                <c:pt idx="96">
                  <c:v>9.121590805436</c:v>
                </c:pt>
                <c:pt idx="97">
                  <c:v>4.5678786771419997</c:v>
                </c:pt>
                <c:pt idx="98">
                  <c:v>16.036655211911999</c:v>
                </c:pt>
                <c:pt idx="99">
                  <c:v>29.914628253215</c:v>
                </c:pt>
                <c:pt idx="100">
                  <c:v>13.88149827638</c:v>
                </c:pt>
                <c:pt idx="101">
                  <c:v>23.232581372116002</c:v>
                </c:pt>
                <c:pt idx="102">
                  <c:v>18.653671275676999</c:v>
                </c:pt>
                <c:pt idx="103">
                  <c:v>11.666705555685001</c:v>
                </c:pt>
                <c:pt idx="104">
                  <c:v>4.6706055440079997</c:v>
                </c:pt>
                <c:pt idx="105">
                  <c:v>9.3613236911689999</c:v>
                </c:pt>
                <c:pt idx="106">
                  <c:v>11.725528821349</c:v>
                </c:pt>
                <c:pt idx="107">
                  <c:v>4.7011259196569997</c:v>
                </c:pt>
                <c:pt idx="108">
                  <c:v>14.139605033699</c:v>
                </c:pt>
                <c:pt idx="109">
                  <c:v>9.4587244910020001</c:v>
                </c:pt>
                <c:pt idx="110">
                  <c:v>2.365799995268</c:v>
                </c:pt>
                <c:pt idx="111">
                  <c:v>0</c:v>
                </c:pt>
                <c:pt idx="112">
                  <c:v>9.4903672772130001</c:v>
                </c:pt>
                <c:pt idx="113">
                  <c:v>0</c:v>
                </c:pt>
                <c:pt idx="114">
                  <c:v>9.5401640908219996</c:v>
                </c:pt>
                <c:pt idx="115">
                  <c:v>0</c:v>
                </c:pt>
                <c:pt idx="116">
                  <c:v>2.4010756819050001</c:v>
                </c:pt>
                <c:pt idx="117">
                  <c:v>2.4141177606639999</c:v>
                </c:pt>
                <c:pt idx="118">
                  <c:v>0</c:v>
                </c:pt>
                <c:pt idx="119">
                  <c:v>2.4253595595539998</c:v>
                </c:pt>
                <c:pt idx="120">
                  <c:v>2.4436733297490001</c:v>
                </c:pt>
                <c:pt idx="121">
                  <c:v>2.4588753104330001</c:v>
                </c:pt>
                <c:pt idx="122">
                  <c:v>2.4836698706</c:v>
                </c:pt>
                <c:pt idx="123">
                  <c:v>5.0066337897709996</c:v>
                </c:pt>
                <c:pt idx="124">
                  <c:v>2.50884367395</c:v>
                </c:pt>
                <c:pt idx="125">
                  <c:v>0</c:v>
                </c:pt>
                <c:pt idx="126">
                  <c:v>2.5303003466509999</c:v>
                </c:pt>
                <c:pt idx="127">
                  <c:v>2.548419979612</c:v>
                </c:pt>
                <c:pt idx="128">
                  <c:v>5.1334702258720002</c:v>
                </c:pt>
                <c:pt idx="129">
                  <c:v>2.5892649076919998</c:v>
                </c:pt>
                <c:pt idx="131">
                  <c:v>2.6241209194909998</c:v>
                </c:pt>
                <c:pt idx="132">
                  <c:v>0</c:v>
                </c:pt>
                <c:pt idx="133">
                  <c:v>0</c:v>
                </c:pt>
                <c:pt idx="135">
                  <c:v>2.6857894878190001</c:v>
                </c:pt>
                <c:pt idx="136">
                  <c:v>2.7059937762140001</c:v>
                </c:pt>
                <c:pt idx="137">
                  <c:v>0</c:v>
                </c:pt>
                <c:pt idx="138">
                  <c:v>2.740401742895</c:v>
                </c:pt>
                <c:pt idx="139">
                  <c:v>2.745442565341</c:v>
                </c:pt>
                <c:pt idx="142">
                  <c:v>5.585968048262</c:v>
                </c:pt>
                <c:pt idx="143">
                  <c:v>5.6241388037449997</c:v>
                </c:pt>
                <c:pt idx="145">
                  <c:v>2.846650915198</c:v>
                </c:pt>
                <c:pt idx="146">
                  <c:v>5.7038558065249996</c:v>
                </c:pt>
                <c:pt idx="147">
                  <c:v>0</c:v>
                </c:pt>
                <c:pt idx="148">
                  <c:v>2.888754080365</c:v>
                </c:pt>
                <c:pt idx="150">
                  <c:v>0</c:v>
                </c:pt>
                <c:pt idx="151">
                  <c:v>2.9532500516810001</c:v>
                </c:pt>
                <c:pt idx="153">
                  <c:v>0</c:v>
                </c:pt>
                <c:pt idx="154">
                  <c:v>0</c:v>
                </c:pt>
                <c:pt idx="155">
                  <c:v>3.0074283480189998</c:v>
                </c:pt>
                <c:pt idx="156">
                  <c:v>0</c:v>
                </c:pt>
                <c:pt idx="157">
                  <c:v>3.0525962330960001</c:v>
                </c:pt>
                <c:pt idx="158">
                  <c:v>12.320581531447999</c:v>
                </c:pt>
                <c:pt idx="159">
                  <c:v>0</c:v>
                </c:pt>
                <c:pt idx="161">
                  <c:v>3.1159442869160001</c:v>
                </c:pt>
                <c:pt idx="162">
                  <c:v>0</c:v>
                </c:pt>
                <c:pt idx="163">
                  <c:v>6.3249106606360002</c:v>
                </c:pt>
                <c:pt idx="164">
                  <c:v>3.189385724309</c:v>
                </c:pt>
                <c:pt idx="165">
                  <c:v>9.6484739330389999</c:v>
                </c:pt>
                <c:pt idx="166">
                  <c:v>3.2244542611160001</c:v>
                </c:pt>
                <c:pt idx="167">
                  <c:v>3.2295569047920001</c:v>
                </c:pt>
                <c:pt idx="168">
                  <c:v>6.4699792960659996</c:v>
                </c:pt>
                <c:pt idx="169">
                  <c:v>6.4827720333209999</c:v>
                </c:pt>
                <c:pt idx="170">
                  <c:v>3.2648796891830001</c:v>
                </c:pt>
                <c:pt idx="171">
                  <c:v>6.5752704079950002</c:v>
                </c:pt>
                <c:pt idx="172">
                  <c:v>3.3107101473260001</c:v>
                </c:pt>
                <c:pt idx="173">
                  <c:v>0</c:v>
                </c:pt>
                <c:pt idx="174">
                  <c:v>3.324689141565</c:v>
                </c:pt>
                <c:pt idx="175">
                  <c:v>6.6894106629200003</c:v>
                </c:pt>
                <c:pt idx="176">
                  <c:v>3.363605785401</c:v>
                </c:pt>
                <c:pt idx="177">
                  <c:v>0</c:v>
                </c:pt>
                <c:pt idx="178">
                  <c:v>10.237160894044999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3.5158035368979998</c:v>
                </c:pt>
                <c:pt idx="184">
                  <c:v>7.0869210871329997</c:v>
                </c:pt>
                <c:pt idx="185">
                  <c:v>0</c:v>
                </c:pt>
                <c:pt idx="186">
                  <c:v>7.1986466544279999</c:v>
                </c:pt>
                <c:pt idx="187">
                  <c:v>3.613761202659</c:v>
                </c:pt>
                <c:pt idx="188">
                  <c:v>0</c:v>
                </c:pt>
                <c:pt idx="189">
                  <c:v>18.228881840387</c:v>
                </c:pt>
                <c:pt idx="190">
                  <c:v>0</c:v>
                </c:pt>
                <c:pt idx="191">
                  <c:v>0</c:v>
                </c:pt>
                <c:pt idx="192">
                  <c:v>7.4457391757559996</c:v>
                </c:pt>
                <c:pt idx="193">
                  <c:v>14.986886474334</c:v>
                </c:pt>
                <c:pt idx="194">
                  <c:v>7.5125835774920002</c:v>
                </c:pt>
                <c:pt idx="195">
                  <c:v>3.7660528000600002</c:v>
                </c:pt>
                <c:pt idx="196">
                  <c:v>0</c:v>
                </c:pt>
                <c:pt idx="197">
                  <c:v>3.808943399101</c:v>
                </c:pt>
                <c:pt idx="198">
                  <c:v>3.8321517532090001</c:v>
                </c:pt>
                <c:pt idx="199">
                  <c:v>0</c:v>
                </c:pt>
                <c:pt idx="200">
                  <c:v>7.7657839558899999</c:v>
                </c:pt>
                <c:pt idx="201">
                  <c:v>3.8954462233639999</c:v>
                </c:pt>
                <c:pt idx="202">
                  <c:v>3.904572254109</c:v>
                </c:pt>
                <c:pt idx="203">
                  <c:v>0</c:v>
                </c:pt>
                <c:pt idx="204">
                  <c:v>3.9605528931829999</c:v>
                </c:pt>
                <c:pt idx="205">
                  <c:v>7.9773443420680001</c:v>
                </c:pt>
                <c:pt idx="206">
                  <c:v>8.0224628961089994</c:v>
                </c:pt>
                <c:pt idx="207">
                  <c:v>4.0430177084169996</c:v>
                </c:pt>
                <c:pt idx="208">
                  <c:v>0</c:v>
                </c:pt>
                <c:pt idx="209">
                  <c:v>4.0589357470470002</c:v>
                </c:pt>
                <c:pt idx="210">
                  <c:v>0</c:v>
                </c:pt>
                <c:pt idx="211">
                  <c:v>4.1074509159610004</c:v>
                </c:pt>
                <c:pt idx="212">
                  <c:v>8.266854048691</c:v>
                </c:pt>
                <c:pt idx="213">
                  <c:v>12.470382840753</c:v>
                </c:pt>
                <c:pt idx="214">
                  <c:v>12.573344509639</c:v>
                </c:pt>
                <c:pt idx="215">
                  <c:v>16.808135137406001</c:v>
                </c:pt>
                <c:pt idx="216">
                  <c:v>4.2094628725370002</c:v>
                </c:pt>
                <c:pt idx="217">
                  <c:v>12.715097058574001</c:v>
                </c:pt>
                <c:pt idx="218">
                  <c:v>8.5240591569700008</c:v>
                </c:pt>
                <c:pt idx="219">
                  <c:v>4.2855918402329998</c:v>
                </c:pt>
                <c:pt idx="220">
                  <c:v>4.3044077134979997</c:v>
                </c:pt>
                <c:pt idx="221">
                  <c:v>4.3291917399019999</c:v>
                </c:pt>
                <c:pt idx="222">
                  <c:v>0</c:v>
                </c:pt>
                <c:pt idx="223">
                  <c:v>4.3417853421319998</c:v>
                </c:pt>
                <c:pt idx="224">
                  <c:v>0</c:v>
                </c:pt>
                <c:pt idx="225">
                  <c:v>0</c:v>
                </c:pt>
                <c:pt idx="226">
                  <c:v>4.3884671084390003</c:v>
                </c:pt>
                <c:pt idx="227">
                  <c:v>17.607183730961999</c:v>
                </c:pt>
                <c:pt idx="228">
                  <c:v>13.249127765755</c:v>
                </c:pt>
                <c:pt idx="229">
                  <c:v>0</c:v>
                </c:pt>
                <c:pt idx="230">
                  <c:v>22.119000221189999</c:v>
                </c:pt>
                <c:pt idx="231">
                  <c:v>17.746228926353002</c:v>
                </c:pt>
                <c:pt idx="232">
                  <c:v>13.33807576027</c:v>
                </c:pt>
                <c:pt idx="233">
                  <c:v>13.365410318096</c:v>
                </c:pt>
                <c:pt idx="234">
                  <c:v>13.392857142857</c:v>
                </c:pt>
                <c:pt idx="235">
                  <c:v>22.389396381872999</c:v>
                </c:pt>
                <c:pt idx="236">
                  <c:v>13.443871835088</c:v>
                </c:pt>
                <c:pt idx="237">
                  <c:v>8.9690120633209993</c:v>
                </c:pt>
                <c:pt idx="238">
                  <c:v>8.9879561387740008</c:v>
                </c:pt>
                <c:pt idx="239">
                  <c:v>18.012338451839</c:v>
                </c:pt>
                <c:pt idx="240">
                  <c:v>22.566231890598001</c:v>
                </c:pt>
                <c:pt idx="241">
                  <c:v>45.212044488651003</c:v>
                </c:pt>
                <c:pt idx="242">
                  <c:v>49.909255898365998</c:v>
                </c:pt>
                <c:pt idx="243">
                  <c:v>18.166129252009</c:v>
                </c:pt>
                <c:pt idx="244">
                  <c:v>18.184297858798001</c:v>
                </c:pt>
                <c:pt idx="245">
                  <c:v>18.231540565176999</c:v>
                </c:pt>
                <c:pt idx="246">
                  <c:v>36.536353671903001</c:v>
                </c:pt>
                <c:pt idx="247">
                  <c:v>32.023422846423998</c:v>
                </c:pt>
                <c:pt idx="248">
                  <c:v>27.507793874931</c:v>
                </c:pt>
                <c:pt idx="249">
                  <c:v>22.995906728602002</c:v>
                </c:pt>
                <c:pt idx="250">
                  <c:v>18.417054192180998</c:v>
                </c:pt>
                <c:pt idx="251">
                  <c:v>13.827433628317999</c:v>
                </c:pt>
                <c:pt idx="252">
                  <c:v>46.193643754619004</c:v>
                </c:pt>
                <c:pt idx="253">
                  <c:v>83.213905968285999</c:v>
                </c:pt>
                <c:pt idx="254">
                  <c:v>32.43443610416</c:v>
                </c:pt>
                <c:pt idx="255">
                  <c:v>51.100994146612997</c:v>
                </c:pt>
                <c:pt idx="256">
                  <c:v>13.969081765691</c:v>
                </c:pt>
                <c:pt idx="257">
                  <c:v>23.303504847128998</c:v>
                </c:pt>
                <c:pt idx="258">
                  <c:v>27.987685418415001</c:v>
                </c:pt>
                <c:pt idx="259">
                  <c:v>126.24491513536201</c:v>
                </c:pt>
                <c:pt idx="260">
                  <c:v>98.383696416022005</c:v>
                </c:pt>
                <c:pt idx="261">
                  <c:v>126.724866234863</c:v>
                </c:pt>
                <c:pt idx="262">
                  <c:v>131.61605715897301</c:v>
                </c:pt>
                <c:pt idx="263">
                  <c:v>84.837630202195996</c:v>
                </c:pt>
                <c:pt idx="264">
                  <c:v>75.485940743536005</c:v>
                </c:pt>
                <c:pt idx="265">
                  <c:v>37.771482530688999</c:v>
                </c:pt>
                <c:pt idx="266">
                  <c:v>141.93121067322701</c:v>
                </c:pt>
                <c:pt idx="267">
                  <c:v>199.137072685031</c:v>
                </c:pt>
                <c:pt idx="268">
                  <c:v>166.20761705765</c:v>
                </c:pt>
                <c:pt idx="269">
                  <c:v>109.45084229561201</c:v>
                </c:pt>
                <c:pt idx="270">
                  <c:v>186.068702290076</c:v>
                </c:pt>
                <c:pt idx="271">
                  <c:v>133.72176321696301</c:v>
                </c:pt>
                <c:pt idx="272">
                  <c:v>81.254182200553998</c:v>
                </c:pt>
                <c:pt idx="273">
                  <c:v>273.04081241617098</c:v>
                </c:pt>
                <c:pt idx="274">
                  <c:v>302.33227756982399</c:v>
                </c:pt>
                <c:pt idx="275">
                  <c:v>250.156347717323</c:v>
                </c:pt>
                <c:pt idx="276">
                  <c:v>250.89259866833899</c:v>
                </c:pt>
                <c:pt idx="277">
                  <c:v>271.13392079016103</c:v>
                </c:pt>
                <c:pt idx="278">
                  <c:v>106.697705999321</c:v>
                </c:pt>
                <c:pt idx="279">
                  <c:v>63.158917553320002</c:v>
                </c:pt>
                <c:pt idx="280">
                  <c:v>180.24162120031099</c:v>
                </c:pt>
                <c:pt idx="281">
                  <c:v>259.13068987434599</c:v>
                </c:pt>
                <c:pt idx="282">
                  <c:v>240.561637782905</c:v>
                </c:pt>
                <c:pt idx="283">
                  <c:v>206.5709226834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85-4A13-AC6C-516478A67F7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85</c:f>
              <c:numCache>
                <c:formatCode>m/d/yyyy</c:formatCode>
                <c:ptCount val="2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</c:numCache>
            </c:numRef>
          </c:cat>
          <c:val>
            <c:numRef>
              <c:f>List1!$C$2:$C$285</c:f>
              <c:numCache>
                <c:formatCode>General</c:formatCode>
                <c:ptCount val="28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54.525627044711001</c:v>
                </c:pt>
                <c:pt idx="9">
                  <c:v>0</c:v>
                </c:pt>
                <c:pt idx="10">
                  <c:v>16.046213093709</c:v>
                </c:pt>
                <c:pt idx="11">
                  <c:v>12.732365673542001</c:v>
                </c:pt>
                <c:pt idx="12">
                  <c:v>12.43626414625</c:v>
                </c:pt>
                <c:pt idx="13">
                  <c:v>0</c:v>
                </c:pt>
                <c:pt idx="14">
                  <c:v>10.25956704627</c:v>
                </c:pt>
                <c:pt idx="15">
                  <c:v>25.684931506849001</c:v>
                </c:pt>
                <c:pt idx="16">
                  <c:v>0</c:v>
                </c:pt>
                <c:pt idx="17">
                  <c:v>25.789813023855</c:v>
                </c:pt>
                <c:pt idx="18">
                  <c:v>17.726305837862999</c:v>
                </c:pt>
                <c:pt idx="19">
                  <c:v>11.715089034676</c:v>
                </c:pt>
                <c:pt idx="20">
                  <c:v>0</c:v>
                </c:pt>
                <c:pt idx="21">
                  <c:v>5.4103771032839996</c:v>
                </c:pt>
                <c:pt idx="22">
                  <c:v>35.862492955580997</c:v>
                </c:pt>
                <c:pt idx="23">
                  <c:v>4.8763836738670001</c:v>
                </c:pt>
                <c:pt idx="24">
                  <c:v>18.741507754297999</c:v>
                </c:pt>
                <c:pt idx="25">
                  <c:v>40.652242648719003</c:v>
                </c:pt>
                <c:pt idx="26">
                  <c:v>13.502565487442</c:v>
                </c:pt>
                <c:pt idx="27">
                  <c:v>4.4970094886899998</c:v>
                </c:pt>
                <c:pt idx="28">
                  <c:v>8.7692375147980002</c:v>
                </c:pt>
                <c:pt idx="29">
                  <c:v>25.780947879517001</c:v>
                </c:pt>
                <c:pt idx="30">
                  <c:v>33.883947479881002</c:v>
                </c:pt>
                <c:pt idx="31">
                  <c:v>8.328475056217</c:v>
                </c:pt>
                <c:pt idx="32">
                  <c:v>8.1994096425049996</c:v>
                </c:pt>
                <c:pt idx="33">
                  <c:v>24.576062914721</c:v>
                </c:pt>
                <c:pt idx="34">
                  <c:v>4.0936630096610003</c:v>
                </c:pt>
                <c:pt idx="35">
                  <c:v>16.189743797304001</c:v>
                </c:pt>
                <c:pt idx="36">
                  <c:v>8</c:v>
                </c:pt>
                <c:pt idx="37">
                  <c:v>11.881658679551</c:v>
                </c:pt>
                <c:pt idx="38">
                  <c:v>23.474178403755001</c:v>
                </c:pt>
                <c:pt idx="39">
                  <c:v>23.213525747668001</c:v>
                </c:pt>
                <c:pt idx="40">
                  <c:v>3.8669760247479998</c:v>
                </c:pt>
                <c:pt idx="41">
                  <c:v>7.7276766740070002</c:v>
                </c:pt>
                <c:pt idx="42">
                  <c:v>30.670142616163002</c:v>
                </c:pt>
                <c:pt idx="43">
                  <c:v>7.6060087469099997</c:v>
                </c:pt>
                <c:pt idx="44">
                  <c:v>0</c:v>
                </c:pt>
                <c:pt idx="45">
                  <c:v>22.453409175958999</c:v>
                </c:pt>
                <c:pt idx="46">
                  <c:v>22.239519626376001</c:v>
                </c:pt>
                <c:pt idx="47">
                  <c:v>3.705762460626</c:v>
                </c:pt>
                <c:pt idx="48">
                  <c:v>3.7035665345719999</c:v>
                </c:pt>
                <c:pt idx="49">
                  <c:v>14.652551375508001</c:v>
                </c:pt>
                <c:pt idx="50">
                  <c:v>25.362318840579</c:v>
                </c:pt>
                <c:pt idx="51">
                  <c:v>21.493050580312001</c:v>
                </c:pt>
                <c:pt idx="52">
                  <c:v>14.085994999471</c:v>
                </c:pt>
                <c:pt idx="53">
                  <c:v>0</c:v>
                </c:pt>
                <c:pt idx="54">
                  <c:v>3.450774698919</c:v>
                </c:pt>
                <c:pt idx="55">
                  <c:v>0</c:v>
                </c:pt>
                <c:pt idx="56">
                  <c:v>13.484812729663</c:v>
                </c:pt>
                <c:pt idx="57">
                  <c:v>16.523463317910998</c:v>
                </c:pt>
                <c:pt idx="58">
                  <c:v>16.143613586465001</c:v>
                </c:pt>
                <c:pt idx="59">
                  <c:v>6.3213123044339996</c:v>
                </c:pt>
                <c:pt idx="60">
                  <c:v>3.0756927998029999</c:v>
                </c:pt>
                <c:pt idx="61">
                  <c:v>9.1908948867980005</c:v>
                </c:pt>
                <c:pt idx="62">
                  <c:v>0</c:v>
                </c:pt>
                <c:pt idx="63">
                  <c:v>0</c:v>
                </c:pt>
                <c:pt idx="64">
                  <c:v>2.9160470066770001</c:v>
                </c:pt>
                <c:pt idx="65">
                  <c:v>11.391143386016999</c:v>
                </c:pt>
                <c:pt idx="66">
                  <c:v>5.5683937968089996</c:v>
                </c:pt>
                <c:pt idx="67">
                  <c:v>2.7077522948200001</c:v>
                </c:pt>
                <c:pt idx="68">
                  <c:v>5.3922890266910004</c:v>
                </c:pt>
                <c:pt idx="69">
                  <c:v>0</c:v>
                </c:pt>
                <c:pt idx="70">
                  <c:v>2.6352544338150001</c:v>
                </c:pt>
                <c:pt idx="71">
                  <c:v>5.1687600144720003</c:v>
                </c:pt>
                <c:pt idx="72">
                  <c:v>2.5297242600550001</c:v>
                </c:pt>
                <c:pt idx="73">
                  <c:v>7.4055788694139997</c:v>
                </c:pt>
                <c:pt idx="74">
                  <c:v>4.8960806874090004</c:v>
                </c:pt>
                <c:pt idx="75">
                  <c:v>4.8691418137550002</c:v>
                </c:pt>
                <c:pt idx="76">
                  <c:v>2.4251831013239999</c:v>
                </c:pt>
                <c:pt idx="77">
                  <c:v>7.2505800464029999</c:v>
                </c:pt>
                <c:pt idx="78">
                  <c:v>4.728020614169</c:v>
                </c:pt>
                <c:pt idx="79">
                  <c:v>4.6574449257130004</c:v>
                </c:pt>
                <c:pt idx="80">
                  <c:v>4.5738331008299999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8.7594437753199994</c:v>
                </c:pt>
                <c:pt idx="85">
                  <c:v>8.6525773864889999</c:v>
                </c:pt>
                <c:pt idx="86">
                  <c:v>4.272773884806</c:v>
                </c:pt>
                <c:pt idx="87">
                  <c:v>6.3370017532369998</c:v>
                </c:pt>
                <c:pt idx="88">
                  <c:v>2.084332075786</c:v>
                </c:pt>
                <c:pt idx="89">
                  <c:v>0</c:v>
                </c:pt>
                <c:pt idx="90">
                  <c:v>0</c:v>
                </c:pt>
                <c:pt idx="91">
                  <c:v>6.1899063260840004</c:v>
                </c:pt>
                <c:pt idx="92">
                  <c:v>6.1544773822950001</c:v>
                </c:pt>
                <c:pt idx="93">
                  <c:v>0</c:v>
                </c:pt>
                <c:pt idx="94">
                  <c:v>2.030168300952</c:v>
                </c:pt>
                <c:pt idx="95">
                  <c:v>2.0194676683220001</c:v>
                </c:pt>
                <c:pt idx="96">
                  <c:v>0</c:v>
                </c:pt>
                <c:pt idx="97">
                  <c:v>0</c:v>
                </c:pt>
                <c:pt idx="98">
                  <c:v>4.0172742794009997</c:v>
                </c:pt>
                <c:pt idx="99">
                  <c:v>4.0023213463799996</c:v>
                </c:pt>
                <c:pt idx="100">
                  <c:v>7.9684449579659997</c:v>
                </c:pt>
                <c:pt idx="101">
                  <c:v>1.9852693017800001</c:v>
                </c:pt>
                <c:pt idx="102">
                  <c:v>1.979414093428</c:v>
                </c:pt>
                <c:pt idx="103">
                  <c:v>0</c:v>
                </c:pt>
                <c:pt idx="104">
                  <c:v>1.9773787866799999</c:v>
                </c:pt>
                <c:pt idx="105">
                  <c:v>7.8962433622199999</c:v>
                </c:pt>
                <c:pt idx="106">
                  <c:v>3.9418964463799999</c:v>
                </c:pt>
                <c:pt idx="107">
                  <c:v>1.9673808259059999</c:v>
                </c:pt>
                <c:pt idx="108">
                  <c:v>3.926881467082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1.95354470687</c:v>
                </c:pt>
                <c:pt idx="113">
                  <c:v>0</c:v>
                </c:pt>
                <c:pt idx="114">
                  <c:v>1.945714563673</c:v>
                </c:pt>
                <c:pt idx="115">
                  <c:v>1.9400147441119999</c:v>
                </c:pt>
                <c:pt idx="116">
                  <c:v>1.935696173128</c:v>
                </c:pt>
                <c:pt idx="117">
                  <c:v>1.92756221207</c:v>
                </c:pt>
                <c:pt idx="118">
                  <c:v>0</c:v>
                </c:pt>
                <c:pt idx="119">
                  <c:v>1.9209712430600001</c:v>
                </c:pt>
                <c:pt idx="120">
                  <c:v>0</c:v>
                </c:pt>
                <c:pt idx="121">
                  <c:v>0</c:v>
                </c:pt>
                <c:pt idx="122">
                  <c:v>1.886151872948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1.860465116279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1.7763882474149999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1.684380737421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1.65942053035</c:v>
                </c:pt>
                <c:pt idx="157">
                  <c:v>4.9576943416179997</c:v>
                </c:pt>
                <c:pt idx="158">
                  <c:v>0</c:v>
                </c:pt>
                <c:pt idx="159">
                  <c:v>0</c:v>
                </c:pt>
                <c:pt idx="161">
                  <c:v>3.2677068866919998</c:v>
                </c:pt>
                <c:pt idx="162">
                  <c:v>0</c:v>
                </c:pt>
                <c:pt idx="163">
                  <c:v>3.2419639817800001</c:v>
                </c:pt>
                <c:pt idx="164">
                  <c:v>1.613814249979</c:v>
                </c:pt>
                <c:pt idx="165">
                  <c:v>3.2137806916049998</c:v>
                </c:pt>
                <c:pt idx="166">
                  <c:v>0</c:v>
                </c:pt>
                <c:pt idx="167">
                  <c:v>0</c:v>
                </c:pt>
                <c:pt idx="168">
                  <c:v>1.601691386103</c:v>
                </c:pt>
                <c:pt idx="169">
                  <c:v>4.7998464049149998</c:v>
                </c:pt>
                <c:pt idx="170">
                  <c:v>0</c:v>
                </c:pt>
                <c:pt idx="171">
                  <c:v>1.588587586776</c:v>
                </c:pt>
                <c:pt idx="172">
                  <c:v>1.5830800405259999</c:v>
                </c:pt>
                <c:pt idx="173">
                  <c:v>0</c:v>
                </c:pt>
                <c:pt idx="174">
                  <c:v>0</c:v>
                </c:pt>
                <c:pt idx="175">
                  <c:v>1.5749271596179999</c:v>
                </c:pt>
                <c:pt idx="176">
                  <c:v>4.7117951939680003</c:v>
                </c:pt>
                <c:pt idx="177">
                  <c:v>1.5648962473779999</c:v>
                </c:pt>
                <c:pt idx="178">
                  <c:v>1.5598433917229999</c:v>
                </c:pt>
                <c:pt idx="179">
                  <c:v>1.5542913985510001</c:v>
                </c:pt>
                <c:pt idx="180">
                  <c:v>1.5526262673310001</c:v>
                </c:pt>
                <c:pt idx="181">
                  <c:v>1.55048375093</c:v>
                </c:pt>
                <c:pt idx="182">
                  <c:v>3.0905691283040002</c:v>
                </c:pt>
                <c:pt idx="183">
                  <c:v>4.6197911854380003</c:v>
                </c:pt>
                <c:pt idx="184">
                  <c:v>1.5350372246520001</c:v>
                </c:pt>
                <c:pt idx="185">
                  <c:v>1.5303389700809999</c:v>
                </c:pt>
                <c:pt idx="186">
                  <c:v>1.5255064681470001</c:v>
                </c:pt>
                <c:pt idx="187">
                  <c:v>0</c:v>
                </c:pt>
                <c:pt idx="188">
                  <c:v>0</c:v>
                </c:pt>
                <c:pt idx="189">
                  <c:v>3.0367446097780002</c:v>
                </c:pt>
                <c:pt idx="190">
                  <c:v>1.5143025879430001</c:v>
                </c:pt>
                <c:pt idx="191">
                  <c:v>1.5100037750090001</c:v>
                </c:pt>
                <c:pt idx="192">
                  <c:v>0</c:v>
                </c:pt>
                <c:pt idx="193">
                  <c:v>3.005801196308</c:v>
                </c:pt>
                <c:pt idx="194">
                  <c:v>0</c:v>
                </c:pt>
                <c:pt idx="195">
                  <c:v>0</c:v>
                </c:pt>
                <c:pt idx="196">
                  <c:v>1.4974319042840001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.4844283466429999</c:v>
                </c:pt>
                <c:pt idx="201">
                  <c:v>1.482931458907</c:v>
                </c:pt>
                <c:pt idx="202">
                  <c:v>1.481942530268</c:v>
                </c:pt>
                <c:pt idx="203">
                  <c:v>1.4780218156010001</c:v>
                </c:pt>
                <c:pt idx="204">
                  <c:v>1.474708745022</c:v>
                </c:pt>
                <c:pt idx="205">
                  <c:v>4.4135171318020001</c:v>
                </c:pt>
                <c:pt idx="206">
                  <c:v>0</c:v>
                </c:pt>
                <c:pt idx="207">
                  <c:v>1.4645791531800001</c:v>
                </c:pt>
                <c:pt idx="208">
                  <c:v>0</c:v>
                </c:pt>
                <c:pt idx="209">
                  <c:v>0</c:v>
                </c:pt>
                <c:pt idx="210">
                  <c:v>1.459939266526</c:v>
                </c:pt>
                <c:pt idx="211">
                  <c:v>0</c:v>
                </c:pt>
                <c:pt idx="212">
                  <c:v>1.45448198624</c:v>
                </c:pt>
                <c:pt idx="213">
                  <c:v>2.903474006648</c:v>
                </c:pt>
                <c:pt idx="214">
                  <c:v>4.3431681964270004</c:v>
                </c:pt>
                <c:pt idx="215">
                  <c:v>1.4465499783010001</c:v>
                </c:pt>
                <c:pt idx="216">
                  <c:v>0</c:v>
                </c:pt>
                <c:pt idx="217">
                  <c:v>2.8850869853719998</c:v>
                </c:pt>
                <c:pt idx="218">
                  <c:v>4.3198410298500001</c:v>
                </c:pt>
                <c:pt idx="219">
                  <c:v>0</c:v>
                </c:pt>
                <c:pt idx="220">
                  <c:v>2.8708408692899998</c:v>
                </c:pt>
                <c:pt idx="221">
                  <c:v>1.4328084478380001</c:v>
                </c:pt>
                <c:pt idx="222">
                  <c:v>0</c:v>
                </c:pt>
                <c:pt idx="223">
                  <c:v>2.8633194462340001</c:v>
                </c:pt>
                <c:pt idx="224">
                  <c:v>2.860330082091</c:v>
                </c:pt>
                <c:pt idx="225">
                  <c:v>4.2849185151320004</c:v>
                </c:pt>
                <c:pt idx="226">
                  <c:v>5.7080883612070004</c:v>
                </c:pt>
                <c:pt idx="227">
                  <c:v>4.2772209469759996</c:v>
                </c:pt>
                <c:pt idx="228">
                  <c:v>1.4243391066540001</c:v>
                </c:pt>
                <c:pt idx="229">
                  <c:v>2.848029163818</c:v>
                </c:pt>
                <c:pt idx="230">
                  <c:v>1.423811829028</c:v>
                </c:pt>
                <c:pt idx="231">
                  <c:v>5.6904670450820003</c:v>
                </c:pt>
                <c:pt idx="232">
                  <c:v>8.5304822565960006</c:v>
                </c:pt>
                <c:pt idx="233">
                  <c:v>7.1046947823120004</c:v>
                </c:pt>
                <c:pt idx="234">
                  <c:v>5.6805271529189998</c:v>
                </c:pt>
                <c:pt idx="235">
                  <c:v>0</c:v>
                </c:pt>
                <c:pt idx="236">
                  <c:v>1.4186610676839999</c:v>
                </c:pt>
                <c:pt idx="237">
                  <c:v>0</c:v>
                </c:pt>
                <c:pt idx="238">
                  <c:v>7.0881769208950001</c:v>
                </c:pt>
                <c:pt idx="239">
                  <c:v>2.8337040762829999</c:v>
                </c:pt>
                <c:pt idx="240">
                  <c:v>5.6638772071419998</c:v>
                </c:pt>
                <c:pt idx="241">
                  <c:v>2.8306159420279999</c:v>
                </c:pt>
                <c:pt idx="242">
                  <c:v>0</c:v>
                </c:pt>
                <c:pt idx="243">
                  <c:v>0</c:v>
                </c:pt>
                <c:pt idx="244">
                  <c:v>4.241721573395</c:v>
                </c:pt>
                <c:pt idx="245">
                  <c:v>5.6522722134289998</c:v>
                </c:pt>
                <c:pt idx="246">
                  <c:v>7.0624461488480001</c:v>
                </c:pt>
                <c:pt idx="247">
                  <c:v>8.4723026306490006</c:v>
                </c:pt>
                <c:pt idx="248">
                  <c:v>14.114326040930999</c:v>
                </c:pt>
                <c:pt idx="249">
                  <c:v>8.4621460002249993</c:v>
                </c:pt>
                <c:pt idx="250">
                  <c:v>7.0508933481870004</c:v>
                </c:pt>
                <c:pt idx="251">
                  <c:v>2.8200391985439999</c:v>
                </c:pt>
                <c:pt idx="252">
                  <c:v>12.684274318571999</c:v>
                </c:pt>
                <c:pt idx="253">
                  <c:v>18.321213146175001</c:v>
                </c:pt>
                <c:pt idx="254">
                  <c:v>15.495358435812999</c:v>
                </c:pt>
                <c:pt idx="255">
                  <c:v>12.670702520061001</c:v>
                </c:pt>
                <c:pt idx="256">
                  <c:v>15.478787025961999</c:v>
                </c:pt>
                <c:pt idx="257">
                  <c:v>5.6282538342470003</c:v>
                </c:pt>
                <c:pt idx="258">
                  <c:v>9.8490284636919991</c:v>
                </c:pt>
                <c:pt idx="259">
                  <c:v>16.875500991435</c:v>
                </c:pt>
                <c:pt idx="260">
                  <c:v>47.796443382301</c:v>
                </c:pt>
                <c:pt idx="261">
                  <c:v>32.321983164461997</c:v>
                </c:pt>
                <c:pt idx="262">
                  <c:v>36.529167134989002</c:v>
                </c:pt>
                <c:pt idx="263">
                  <c:v>39.315903282877002</c:v>
                </c:pt>
                <c:pt idx="264">
                  <c:v>16.848253397731</c:v>
                </c:pt>
                <c:pt idx="265">
                  <c:v>18.252018252018001</c:v>
                </c:pt>
                <c:pt idx="266">
                  <c:v>67.366530062313998</c:v>
                </c:pt>
                <c:pt idx="267">
                  <c:v>61.725797174641002</c:v>
                </c:pt>
                <c:pt idx="268">
                  <c:v>40.672641337427997</c:v>
                </c:pt>
                <c:pt idx="269">
                  <c:v>25.234824057198001</c:v>
                </c:pt>
                <c:pt idx="270">
                  <c:v>60.250248707421001</c:v>
                </c:pt>
                <c:pt idx="271">
                  <c:v>36.427320490367002</c:v>
                </c:pt>
                <c:pt idx="272">
                  <c:v>35.025288258122004</c:v>
                </c:pt>
                <c:pt idx="273">
                  <c:v>109.24675761225799</c:v>
                </c:pt>
                <c:pt idx="274">
                  <c:v>92.422735993054005</c:v>
                </c:pt>
                <c:pt idx="275">
                  <c:v>72.791410613547001</c:v>
                </c:pt>
                <c:pt idx="276">
                  <c:v>83.946609956066993</c:v>
                </c:pt>
                <c:pt idx="277">
                  <c:v>106.262496329749</c:v>
                </c:pt>
                <c:pt idx="278">
                  <c:v>46.133844067607001</c:v>
                </c:pt>
                <c:pt idx="279">
                  <c:v>36.342288445946998</c:v>
                </c:pt>
                <c:pt idx="280">
                  <c:v>113.171167898509</c:v>
                </c:pt>
                <c:pt idx="281">
                  <c:v>111.695963587115</c:v>
                </c:pt>
                <c:pt idx="282">
                  <c:v>97.653525292262998</c:v>
                </c:pt>
                <c:pt idx="283">
                  <c:v>72.530476748401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D85-4A13-AC6C-516478A67F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85</c:f>
              <c:numCache>
                <c:formatCode>m/d/yyyy</c:formatCode>
                <c:ptCount val="2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</c:numCache>
            </c:numRef>
          </c:cat>
          <c:val>
            <c:numRef>
              <c:f>List1!$B$2:$B$285</c:f>
              <c:numCache>
                <c:formatCode>General</c:formatCode>
                <c:ptCount val="284"/>
                <c:pt idx="0">
                  <c:v>110.865201927158</c:v>
                </c:pt>
                <c:pt idx="1">
                  <c:v>114.28856407847999</c:v>
                </c:pt>
                <c:pt idx="2">
                  <c:v>123.59696496130699</c:v>
                </c:pt>
                <c:pt idx="3">
                  <c:v>94.802705037183003</c:v>
                </c:pt>
                <c:pt idx="4">
                  <c:v>100.191081725484</c:v>
                </c:pt>
                <c:pt idx="5">
                  <c:v>48.775315449051</c:v>
                </c:pt>
                <c:pt idx="6">
                  <c:v>35.741334853757998</c:v>
                </c:pt>
                <c:pt idx="7">
                  <c:v>117.441075123571</c:v>
                </c:pt>
                <c:pt idx="8">
                  <c:v>124.89628368051</c:v>
                </c:pt>
                <c:pt idx="9">
                  <c:v>115.944861776843</c:v>
                </c:pt>
                <c:pt idx="10">
                  <c:v>105.214465174919</c:v>
                </c:pt>
                <c:pt idx="11">
                  <c:v>106.55177066708799</c:v>
                </c:pt>
                <c:pt idx="12">
                  <c:v>51.330869451599</c:v>
                </c:pt>
                <c:pt idx="13">
                  <c:v>26.205082850177</c:v>
                </c:pt>
                <c:pt idx="14">
                  <c:v>127.498442218281</c:v>
                </c:pt>
                <c:pt idx="15">
                  <c:v>131.879204575763</c:v>
                </c:pt>
                <c:pt idx="16">
                  <c:v>127.589922937719</c:v>
                </c:pt>
                <c:pt idx="17">
                  <c:v>134.359927151726</c:v>
                </c:pt>
                <c:pt idx="18">
                  <c:v>135.29757380725201</c:v>
                </c:pt>
                <c:pt idx="19">
                  <c:v>67.651675055474001</c:v>
                </c:pt>
                <c:pt idx="20">
                  <c:v>38.559922662915</c:v>
                </c:pt>
                <c:pt idx="21">
                  <c:v>150.822847156905</c:v>
                </c:pt>
                <c:pt idx="22">
                  <c:v>185.266220739587</c:v>
                </c:pt>
                <c:pt idx="23">
                  <c:v>162.31413582215001</c:v>
                </c:pt>
                <c:pt idx="24">
                  <c:v>174.24072389637601</c:v>
                </c:pt>
                <c:pt idx="25">
                  <c:v>185.10727808161499</c:v>
                </c:pt>
                <c:pt idx="26">
                  <c:v>99.390405512854002</c:v>
                </c:pt>
                <c:pt idx="27">
                  <c:v>48.221820373718998</c:v>
                </c:pt>
                <c:pt idx="28">
                  <c:v>175.73298349452301</c:v>
                </c:pt>
                <c:pt idx="29">
                  <c:v>204.569541320582</c:v>
                </c:pt>
                <c:pt idx="30">
                  <c:v>181.95932308647701</c:v>
                </c:pt>
                <c:pt idx="31">
                  <c:v>167.913486961643</c:v>
                </c:pt>
                <c:pt idx="32">
                  <c:v>160.41227217036499</c:v>
                </c:pt>
                <c:pt idx="33">
                  <c:v>80.241609381318</c:v>
                </c:pt>
                <c:pt idx="34">
                  <c:v>44.246668857929997</c:v>
                </c:pt>
                <c:pt idx="35">
                  <c:v>144.93214251660601</c:v>
                </c:pt>
                <c:pt idx="36">
                  <c:v>165.754695849732</c:v>
                </c:pt>
                <c:pt idx="37">
                  <c:v>165.98364610742601</c:v>
                </c:pt>
                <c:pt idx="38">
                  <c:v>121.618299672665</c:v>
                </c:pt>
                <c:pt idx="39">
                  <c:v>156.27136522571399</c:v>
                </c:pt>
                <c:pt idx="40">
                  <c:v>76.190724267722004</c:v>
                </c:pt>
                <c:pt idx="41">
                  <c:v>39.728284584774002</c:v>
                </c:pt>
                <c:pt idx="42">
                  <c:v>138.55484680539499</c:v>
                </c:pt>
                <c:pt idx="43">
                  <c:v>150.25063643282601</c:v>
                </c:pt>
                <c:pt idx="44">
                  <c:v>123.23386756642699</c:v>
                </c:pt>
                <c:pt idx="45">
                  <c:v>111.80650197811499</c:v>
                </c:pt>
                <c:pt idx="46">
                  <c:v>97.821313068128006</c:v>
                </c:pt>
                <c:pt idx="47">
                  <c:v>38.596678023849996</c:v>
                </c:pt>
                <c:pt idx="48">
                  <c:v>27.951736668018999</c:v>
                </c:pt>
                <c:pt idx="49">
                  <c:v>119.765286801062</c:v>
                </c:pt>
                <c:pt idx="50">
                  <c:v>98.174360353696002</c:v>
                </c:pt>
                <c:pt idx="51">
                  <c:v>87.908521040566001</c:v>
                </c:pt>
                <c:pt idx="52">
                  <c:v>78.426558642605997</c:v>
                </c:pt>
                <c:pt idx="53">
                  <c:v>79.872754439478996</c:v>
                </c:pt>
                <c:pt idx="54">
                  <c:v>36.532324214037999</c:v>
                </c:pt>
                <c:pt idx="55">
                  <c:v>14.49545463958</c:v>
                </c:pt>
                <c:pt idx="56">
                  <c:v>87.801206918177002</c:v>
                </c:pt>
                <c:pt idx="57">
                  <c:v>95.678295800707005</c:v>
                </c:pt>
                <c:pt idx="58">
                  <c:v>68.291919500898999</c:v>
                </c:pt>
                <c:pt idx="59">
                  <c:v>61.886531763622003</c:v>
                </c:pt>
                <c:pt idx="60">
                  <c:v>34.341663013298003</c:v>
                </c:pt>
                <c:pt idx="61">
                  <c:v>23.413891754651001</c:v>
                </c:pt>
                <c:pt idx="62">
                  <c:v>31.488451793376999</c:v>
                </c:pt>
                <c:pt idx="63">
                  <c:v>25.929959475177</c:v>
                </c:pt>
                <c:pt idx="64">
                  <c:v>89.228808158061995</c:v>
                </c:pt>
                <c:pt idx="65">
                  <c:v>66.860663896001</c:v>
                </c:pt>
                <c:pt idx="66">
                  <c:v>58.562897322288002</c:v>
                </c:pt>
                <c:pt idx="67">
                  <c:v>47.845388802610003</c:v>
                </c:pt>
                <c:pt idx="68">
                  <c:v>21.23025389811</c:v>
                </c:pt>
                <c:pt idx="69">
                  <c:v>10.233641916997</c:v>
                </c:pt>
                <c:pt idx="70">
                  <c:v>38.282396478019002</c:v>
                </c:pt>
                <c:pt idx="71">
                  <c:v>46.091519968947999</c:v>
                </c:pt>
                <c:pt idx="72">
                  <c:v>45.957013778897</c:v>
                </c:pt>
                <c:pt idx="73">
                  <c:v>31.758501667320999</c:v>
                </c:pt>
                <c:pt idx="74">
                  <c:v>37.830067337518997</c:v>
                </c:pt>
                <c:pt idx="75">
                  <c:v>11.813648138928</c:v>
                </c:pt>
                <c:pt idx="76">
                  <c:v>9.3061031116220008</c:v>
                </c:pt>
                <c:pt idx="77">
                  <c:v>45.779782291700997</c:v>
                </c:pt>
                <c:pt idx="78">
                  <c:v>42.297167816170997</c:v>
                </c:pt>
                <c:pt idx="79">
                  <c:v>41.985934711871003</c:v>
                </c:pt>
                <c:pt idx="80">
                  <c:v>20.433365019855</c:v>
                </c:pt>
                <c:pt idx="81">
                  <c:v>22.599482923829999</c:v>
                </c:pt>
                <c:pt idx="82">
                  <c:v>11.825492122402</c:v>
                </c:pt>
                <c:pt idx="83">
                  <c:v>5.4740030471949996</c:v>
                </c:pt>
                <c:pt idx="84">
                  <c:v>23.036379049794999</c:v>
                </c:pt>
                <c:pt idx="85">
                  <c:v>25.166612294356</c:v>
                </c:pt>
                <c:pt idx="86">
                  <c:v>21.696066408829001</c:v>
                </c:pt>
                <c:pt idx="87">
                  <c:v>33.382294031245003</c:v>
                </c:pt>
                <c:pt idx="88">
                  <c:v>29.967615641161</c:v>
                </c:pt>
                <c:pt idx="89">
                  <c:v>9.6871064613000009</c:v>
                </c:pt>
                <c:pt idx="90">
                  <c:v>6.7961824872080001</c:v>
                </c:pt>
                <c:pt idx="91">
                  <c:v>26.398897112741999</c:v>
                </c:pt>
                <c:pt idx="92">
                  <c:v>22.638463734165001</c:v>
                </c:pt>
                <c:pt idx="93">
                  <c:v>19.800607878661001</c:v>
                </c:pt>
                <c:pt idx="94">
                  <c:v>17.936862244897</c:v>
                </c:pt>
                <c:pt idx="95">
                  <c:v>26.060721481049999</c:v>
                </c:pt>
                <c:pt idx="96">
                  <c:v>10.039858237201001</c:v>
                </c:pt>
                <c:pt idx="97">
                  <c:v>6.0336678666959997</c:v>
                </c:pt>
                <c:pt idx="98">
                  <c:v>17.149025027488001</c:v>
                </c:pt>
                <c:pt idx="99">
                  <c:v>33.424829584012002</c:v>
                </c:pt>
                <c:pt idx="100">
                  <c:v>10.181122163284</c:v>
                </c:pt>
                <c:pt idx="101">
                  <c:v>19.430184279957999</c:v>
                </c:pt>
                <c:pt idx="102">
                  <c:v>16.433853738701</c:v>
                </c:pt>
                <c:pt idx="103">
                  <c:v>6.1670658128699998</c:v>
                </c:pt>
                <c:pt idx="104">
                  <c:v>3.085753078038</c:v>
                </c:pt>
                <c:pt idx="105">
                  <c:v>10.310128670405</c:v>
                </c:pt>
                <c:pt idx="106">
                  <c:v>9.2985773176700004</c:v>
                </c:pt>
                <c:pt idx="107">
                  <c:v>7.2518569933799997</c:v>
                </c:pt>
                <c:pt idx="108">
                  <c:v>11.431778265070999</c:v>
                </c:pt>
                <c:pt idx="109">
                  <c:v>7.3037635250040003</c:v>
                </c:pt>
                <c:pt idx="110">
                  <c:v>4.1754089291109997</c:v>
                </c:pt>
                <c:pt idx="111">
                  <c:v>1.0450303581310001</c:v>
                </c:pt>
                <c:pt idx="112">
                  <c:v>6.2838411026039998</c:v>
                </c:pt>
                <c:pt idx="113">
                  <c:v>5.2475257915890001</c:v>
                </c:pt>
                <c:pt idx="114">
                  <c:v>12.639029322548</c:v>
                </c:pt>
                <c:pt idx="115">
                  <c:v>3.1709456817000001</c:v>
                </c:pt>
                <c:pt idx="116">
                  <c:v>4.2432214537270001</c:v>
                </c:pt>
                <c:pt idx="117">
                  <c:v>1.065893538553</c:v>
                </c:pt>
                <c:pt idx="118">
                  <c:v>1.0667918369080001</c:v>
                </c:pt>
                <c:pt idx="119">
                  <c:v>4.283710121336</c:v>
                </c:pt>
                <c:pt idx="120">
                  <c:v>3.2377128796210002</c:v>
                </c:pt>
                <c:pt idx="121">
                  <c:v>1.0865077468</c:v>
                </c:pt>
                <c:pt idx="122">
                  <c:v>6.5841453779289996</c:v>
                </c:pt>
                <c:pt idx="123">
                  <c:v>3.3217073575809999</c:v>
                </c:pt>
                <c:pt idx="124">
                  <c:v>1.1094223237950001</c:v>
                </c:pt>
                <c:pt idx="125">
                  <c:v>1.1108148938060001</c:v>
                </c:pt>
                <c:pt idx="126">
                  <c:v>2.2376120204509999</c:v>
                </c:pt>
                <c:pt idx="127">
                  <c:v>1.1270780501540001</c:v>
                </c:pt>
                <c:pt idx="128">
                  <c:v>3.4048735089490001</c:v>
                </c:pt>
                <c:pt idx="129">
                  <c:v>4.5822164180809999</c:v>
                </c:pt>
                <c:pt idx="131">
                  <c:v>2.3232851251660001</c:v>
                </c:pt>
                <c:pt idx="132">
                  <c:v>1.1648902090969999</c:v>
                </c:pt>
                <c:pt idx="133">
                  <c:v>2.344446007408</c:v>
                </c:pt>
                <c:pt idx="135">
                  <c:v>1.1882552847650001</c:v>
                </c:pt>
                <c:pt idx="136">
                  <c:v>3.5927283178840002</c:v>
                </c:pt>
                <c:pt idx="137">
                  <c:v>4.8383389982210003</c:v>
                </c:pt>
                <c:pt idx="138">
                  <c:v>1.211959617505</c:v>
                </c:pt>
                <c:pt idx="139">
                  <c:v>1.2140047588980001</c:v>
                </c:pt>
                <c:pt idx="142">
                  <c:v>4.9438257795789999</c:v>
                </c:pt>
                <c:pt idx="143">
                  <c:v>3.7338975667429999</c:v>
                </c:pt>
                <c:pt idx="145">
                  <c:v>1.2594141205510001</c:v>
                </c:pt>
                <c:pt idx="146">
                  <c:v>3.7842474393250001</c:v>
                </c:pt>
                <c:pt idx="147">
                  <c:v>0</c:v>
                </c:pt>
                <c:pt idx="148">
                  <c:v>3.8313197619469999</c:v>
                </c:pt>
                <c:pt idx="150">
                  <c:v>1.2953032304859999</c:v>
                </c:pt>
                <c:pt idx="151">
                  <c:v>2.6106934001669999</c:v>
                </c:pt>
                <c:pt idx="153">
                  <c:v>1.311389417087</c:v>
                </c:pt>
                <c:pt idx="154">
                  <c:v>2.6381743833260001</c:v>
                </c:pt>
                <c:pt idx="155">
                  <c:v>1.327862539669</c:v>
                </c:pt>
                <c:pt idx="156">
                  <c:v>0</c:v>
                </c:pt>
                <c:pt idx="157">
                  <c:v>1.347037191696</c:v>
                </c:pt>
                <c:pt idx="158">
                  <c:v>6.7893271776760002</c:v>
                </c:pt>
                <c:pt idx="159">
                  <c:v>1.360951577342</c:v>
                </c:pt>
                <c:pt idx="161">
                  <c:v>2.7435971301970001</c:v>
                </c:pt>
                <c:pt idx="162">
                  <c:v>4.1441615670449998</c:v>
                </c:pt>
                <c:pt idx="163">
                  <c:v>4.1754234575279998</c:v>
                </c:pt>
                <c:pt idx="164">
                  <c:v>5.6126171633829998</c:v>
                </c:pt>
                <c:pt idx="165">
                  <c:v>4.241721573395</c:v>
                </c:pt>
                <c:pt idx="166">
                  <c:v>4.2511584406749998</c:v>
                </c:pt>
                <c:pt idx="167">
                  <c:v>4.2570702842300001</c:v>
                </c:pt>
                <c:pt idx="168">
                  <c:v>8.5251491901099996</c:v>
                </c:pt>
                <c:pt idx="169">
                  <c:v>4.2692471894119999</c:v>
                </c:pt>
                <c:pt idx="170">
                  <c:v>7.1639395936610004</c:v>
                </c:pt>
                <c:pt idx="171">
                  <c:v>2.8828828828819999</c:v>
                </c:pt>
                <c:pt idx="172">
                  <c:v>4.3523045452559996</c:v>
                </c:pt>
                <c:pt idx="173">
                  <c:v>0</c:v>
                </c:pt>
                <c:pt idx="174">
                  <c:v>4.3696744592519998</c:v>
                </c:pt>
                <c:pt idx="175">
                  <c:v>5.8604623904819997</c:v>
                </c:pt>
                <c:pt idx="176">
                  <c:v>2.946549590429</c:v>
                </c:pt>
                <c:pt idx="177">
                  <c:v>0</c:v>
                </c:pt>
                <c:pt idx="178">
                  <c:v>10.451192929021</c:v>
                </c:pt>
                <c:pt idx="179">
                  <c:v>3.0067501540950001</c:v>
                </c:pt>
                <c:pt idx="180">
                  <c:v>1.5062963186110001</c:v>
                </c:pt>
                <c:pt idx="181">
                  <c:v>0</c:v>
                </c:pt>
                <c:pt idx="182">
                  <c:v>0</c:v>
                </c:pt>
                <c:pt idx="183">
                  <c:v>3.0631154947689998</c:v>
                </c:pt>
                <c:pt idx="184">
                  <c:v>10.797803418276001</c:v>
                </c:pt>
                <c:pt idx="185">
                  <c:v>0</c:v>
                </c:pt>
                <c:pt idx="186">
                  <c:v>7.819341924183</c:v>
                </c:pt>
                <c:pt idx="187">
                  <c:v>1.5687504902339999</c:v>
                </c:pt>
                <c:pt idx="188">
                  <c:v>1.5723270440249999</c:v>
                </c:pt>
                <c:pt idx="189">
                  <c:v>12.641625713066</c:v>
                </c:pt>
                <c:pt idx="190">
                  <c:v>1.589799844199</c:v>
                </c:pt>
                <c:pt idx="191">
                  <c:v>4.7995392442320002</c:v>
                </c:pt>
                <c:pt idx="192">
                  <c:v>3.2166752444669999</c:v>
                </c:pt>
                <c:pt idx="193">
                  <c:v>9.703556353403</c:v>
                </c:pt>
                <c:pt idx="194">
                  <c:v>6.4832974050600001</c:v>
                </c:pt>
                <c:pt idx="195">
                  <c:v>1.6238511253279999</c:v>
                </c:pt>
                <c:pt idx="196">
                  <c:v>6.5247532827660004</c:v>
                </c:pt>
                <c:pt idx="197">
                  <c:v>4.9178715451950001</c:v>
                </c:pt>
                <c:pt idx="198">
                  <c:v>4.9445387569420003</c:v>
                </c:pt>
                <c:pt idx="199">
                  <c:v>0</c:v>
                </c:pt>
                <c:pt idx="200">
                  <c:v>5</c:v>
                </c:pt>
                <c:pt idx="201">
                  <c:v>1.6705646508509999</c:v>
                </c:pt>
                <c:pt idx="202">
                  <c:v>1.6736681785459999</c:v>
                </c:pt>
                <c:pt idx="203">
                  <c:v>6.7376364371369997</c:v>
                </c:pt>
                <c:pt idx="204">
                  <c:v>1.693250702699</c:v>
                </c:pt>
                <c:pt idx="205">
                  <c:v>3.4076194370609998</c:v>
                </c:pt>
                <c:pt idx="206">
                  <c:v>6.8523657792849999</c:v>
                </c:pt>
                <c:pt idx="207">
                  <c:v>1.7240784800519999</c:v>
                </c:pt>
                <c:pt idx="208">
                  <c:v>3.4538138739700002</c:v>
                </c:pt>
                <c:pt idx="209">
                  <c:v>3.4587714443820001</c:v>
                </c:pt>
                <c:pt idx="210">
                  <c:v>0</c:v>
                </c:pt>
                <c:pt idx="211">
                  <c:v>1.7472437230260001</c:v>
                </c:pt>
                <c:pt idx="212">
                  <c:v>5.269814502529</c:v>
                </c:pt>
                <c:pt idx="213">
                  <c:v>14.126787921596</c:v>
                </c:pt>
                <c:pt idx="214">
                  <c:v>8.8896790825849994</c:v>
                </c:pt>
                <c:pt idx="215">
                  <c:v>10.680717744232</c:v>
                </c:pt>
                <c:pt idx="216">
                  <c:v>1.7818006877749999</c:v>
                </c:pt>
                <c:pt idx="217">
                  <c:v>7.1630672253850003</c:v>
                </c:pt>
                <c:pt idx="218">
                  <c:v>8.9953943580879994</c:v>
                </c:pt>
                <c:pt idx="219">
                  <c:v>1.8067826621130001</c:v>
                </c:pt>
                <c:pt idx="220">
                  <c:v>5.4420781482420004</c:v>
                </c:pt>
                <c:pt idx="221">
                  <c:v>1.821858660205</c:v>
                </c:pt>
                <c:pt idx="222">
                  <c:v>1.82318729603</c:v>
                </c:pt>
                <c:pt idx="223">
                  <c:v>3.6489691662100001</c:v>
                </c:pt>
                <c:pt idx="224">
                  <c:v>3.658246602403</c:v>
                </c:pt>
                <c:pt idx="225">
                  <c:v>5.5026687943650003</c:v>
                </c:pt>
                <c:pt idx="226">
                  <c:v>5.513895015438</c:v>
                </c:pt>
                <c:pt idx="227">
                  <c:v>11.053387863379999</c:v>
                </c:pt>
                <c:pt idx="228">
                  <c:v>16.618657212496998</c:v>
                </c:pt>
                <c:pt idx="229">
                  <c:v>3.6939216519209999</c:v>
                </c:pt>
                <c:pt idx="230">
                  <c:v>9.2346335697389996</c:v>
                </c:pt>
                <c:pt idx="231">
                  <c:v>18.507208557733001</c:v>
                </c:pt>
                <c:pt idx="232">
                  <c:v>16.682422287716001</c:v>
                </c:pt>
                <c:pt idx="233">
                  <c:v>16.708747957819</c:v>
                </c:pt>
                <c:pt idx="234">
                  <c:v>11.156771230405001</c:v>
                </c:pt>
                <c:pt idx="235">
                  <c:v>16.771332202821</c:v>
                </c:pt>
                <c:pt idx="236">
                  <c:v>11.181513231457</c:v>
                </c:pt>
                <c:pt idx="237">
                  <c:v>11.181304858276</c:v>
                </c:pt>
                <c:pt idx="238">
                  <c:v>11.195074167366</c:v>
                </c:pt>
                <c:pt idx="239">
                  <c:v>16.820543490449001</c:v>
                </c:pt>
                <c:pt idx="240">
                  <c:v>26.201527174725999</c:v>
                </c:pt>
                <c:pt idx="241">
                  <c:v>35.617876424715</c:v>
                </c:pt>
                <c:pt idx="242">
                  <c:v>31.946480249558</c:v>
                </c:pt>
                <c:pt idx="243">
                  <c:v>13.163090693694</c:v>
                </c:pt>
                <c:pt idx="244">
                  <c:v>11.289230074508</c:v>
                </c:pt>
                <c:pt idx="245">
                  <c:v>15.085516018931999</c:v>
                </c:pt>
                <c:pt idx="246">
                  <c:v>30.224606607854</c:v>
                </c:pt>
                <c:pt idx="247">
                  <c:v>24.596987815030001</c:v>
                </c:pt>
                <c:pt idx="248">
                  <c:v>18.961299986726999</c:v>
                </c:pt>
                <c:pt idx="249">
                  <c:v>17.110916764896</c:v>
                </c:pt>
                <c:pt idx="250">
                  <c:v>13.317605874966</c:v>
                </c:pt>
                <c:pt idx="251">
                  <c:v>9.5185516571789996</c:v>
                </c:pt>
                <c:pt idx="252">
                  <c:v>34.329525298951999</c:v>
                </c:pt>
                <c:pt idx="253">
                  <c:v>51.515903150101998</c:v>
                </c:pt>
                <c:pt idx="254">
                  <c:v>28.687270501834998</c:v>
                </c:pt>
                <c:pt idx="255">
                  <c:v>45.979654003103001</c:v>
                </c:pt>
                <c:pt idx="256">
                  <c:v>23.033513762523999</c:v>
                </c:pt>
                <c:pt idx="257">
                  <c:v>17.285420707934001</c:v>
                </c:pt>
                <c:pt idx="258">
                  <c:v>28.823427682018998</c:v>
                </c:pt>
                <c:pt idx="259">
                  <c:v>98.167539267015002</c:v>
                </c:pt>
                <c:pt idx="260">
                  <c:v>82.912344298329998</c:v>
                </c:pt>
                <c:pt idx="261">
                  <c:v>81.107699438039006</c:v>
                </c:pt>
                <c:pt idx="262">
                  <c:v>108.31721470019301</c:v>
                </c:pt>
                <c:pt idx="263">
                  <c:v>98.860200046521996</c:v>
                </c:pt>
                <c:pt idx="264">
                  <c:v>64.006827394921999</c:v>
                </c:pt>
                <c:pt idx="265">
                  <c:v>34.928396786587001</c:v>
                </c:pt>
                <c:pt idx="266">
                  <c:v>120.524085377706</c:v>
                </c:pt>
                <c:pt idx="267">
                  <c:v>144.05855785703099</c:v>
                </c:pt>
                <c:pt idx="268">
                  <c:v>152.04974755843099</c:v>
                </c:pt>
                <c:pt idx="269">
                  <c:v>83.971254491484999</c:v>
                </c:pt>
                <c:pt idx="270">
                  <c:v>170.307728447263</c:v>
                </c:pt>
                <c:pt idx="271">
                  <c:v>129.29007992477599</c:v>
                </c:pt>
                <c:pt idx="272">
                  <c:v>68.595170899967997</c:v>
                </c:pt>
                <c:pt idx="273">
                  <c:v>229.72256582435</c:v>
                </c:pt>
                <c:pt idx="274">
                  <c:v>245.74855008355399</c:v>
                </c:pt>
                <c:pt idx="275">
                  <c:v>236.392648188641</c:v>
                </c:pt>
                <c:pt idx="276">
                  <c:v>185.62767827168699</c:v>
                </c:pt>
                <c:pt idx="277">
                  <c:v>204.05737380140999</c:v>
                </c:pt>
                <c:pt idx="278">
                  <c:v>111.084662381972</c:v>
                </c:pt>
                <c:pt idx="279">
                  <c:v>49.649474708557001</c:v>
                </c:pt>
                <c:pt idx="280">
                  <c:v>213.003145280089</c:v>
                </c:pt>
                <c:pt idx="281">
                  <c:v>223.70917806851</c:v>
                </c:pt>
                <c:pt idx="282">
                  <c:v>248.59164812253101</c:v>
                </c:pt>
                <c:pt idx="283">
                  <c:v>182.679567992932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BBF-4B7D-8698-1A7B4E221FD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85</c:f>
              <c:numCache>
                <c:formatCode>m/d/yyyy</c:formatCode>
                <c:ptCount val="2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</c:numCache>
            </c:numRef>
          </c:cat>
          <c:val>
            <c:numRef>
              <c:f>List1!$C$2:$C$285</c:f>
              <c:numCache>
                <c:formatCode>General</c:formatCode>
                <c:ptCount val="28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2.841916013869</c:v>
                </c:pt>
                <c:pt idx="9">
                  <c:v>10.283833813245</c:v>
                </c:pt>
                <c:pt idx="10">
                  <c:v>12.477644220770999</c:v>
                </c:pt>
                <c:pt idx="11">
                  <c:v>20.258635243272</c:v>
                </c:pt>
                <c:pt idx="12">
                  <c:v>3.3078627898509998</c:v>
                </c:pt>
                <c:pt idx="13">
                  <c:v>0</c:v>
                </c:pt>
                <c:pt idx="14">
                  <c:v>8.3614370523140007</c:v>
                </c:pt>
                <c:pt idx="15">
                  <c:v>14.271782307746999</c:v>
                </c:pt>
                <c:pt idx="16">
                  <c:v>4.1870786752080003</c:v>
                </c:pt>
                <c:pt idx="17">
                  <c:v>18.536368354711001</c:v>
                </c:pt>
                <c:pt idx="18">
                  <c:v>10.177253837672</c:v>
                </c:pt>
                <c:pt idx="19">
                  <c:v>6.7009532105940002</c:v>
                </c:pt>
                <c:pt idx="20">
                  <c:v>1.6577150056359999</c:v>
                </c:pt>
                <c:pt idx="21">
                  <c:v>13.896823803715</c:v>
                </c:pt>
                <c:pt idx="22">
                  <c:v>20.446313821707999</c:v>
                </c:pt>
                <c:pt idx="23">
                  <c:v>19.465802755801001</c:v>
                </c:pt>
                <c:pt idx="24">
                  <c:v>14.644992078390001</c:v>
                </c:pt>
                <c:pt idx="25">
                  <c:v>26.917210351590001</c:v>
                </c:pt>
                <c:pt idx="26">
                  <c:v>11.481642129972</c:v>
                </c:pt>
                <c:pt idx="27">
                  <c:v>14.014702697193</c:v>
                </c:pt>
                <c:pt idx="28">
                  <c:v>24.838857909312999</c:v>
                </c:pt>
                <c:pt idx="29">
                  <c:v>15.829335411440001</c:v>
                </c:pt>
                <c:pt idx="30">
                  <c:v>22.77986260146</c:v>
                </c:pt>
                <c:pt idx="31">
                  <c:v>12.964054213317</c:v>
                </c:pt>
                <c:pt idx="32">
                  <c:v>18.574845016135999</c:v>
                </c:pt>
                <c:pt idx="33">
                  <c:v>10.43708179193</c:v>
                </c:pt>
                <c:pt idx="34">
                  <c:v>4.6337592530379998</c:v>
                </c:pt>
                <c:pt idx="35">
                  <c:v>16.048420376907998</c:v>
                </c:pt>
                <c:pt idx="36">
                  <c:v>19.248406345180001</c:v>
                </c:pt>
                <c:pt idx="37">
                  <c:v>6.7293996253959998</c:v>
                </c:pt>
                <c:pt idx="38">
                  <c:v>16.659262549977001</c:v>
                </c:pt>
                <c:pt idx="39">
                  <c:v>17.569674741396</c:v>
                </c:pt>
                <c:pt idx="40">
                  <c:v>7.6832735135599997</c:v>
                </c:pt>
                <c:pt idx="41">
                  <c:v>8.7767416346679994</c:v>
                </c:pt>
                <c:pt idx="42">
                  <c:v>21.808348235703999</c:v>
                </c:pt>
                <c:pt idx="43">
                  <c:v>11.914045576638999</c:v>
                </c:pt>
                <c:pt idx="44">
                  <c:v>8.6003934680010001</c:v>
                </c:pt>
                <c:pt idx="45">
                  <c:v>13.883993891042</c:v>
                </c:pt>
                <c:pt idx="46">
                  <c:v>16.924590372023001</c:v>
                </c:pt>
                <c:pt idx="47">
                  <c:v>3.1725217317730001</c:v>
                </c:pt>
                <c:pt idx="48">
                  <c:v>4.2283745071299998</c:v>
                </c:pt>
                <c:pt idx="49">
                  <c:v>13.623549877912</c:v>
                </c:pt>
                <c:pt idx="50">
                  <c:v>14.554527497660001</c:v>
                </c:pt>
                <c:pt idx="51">
                  <c:v>16.486687000246999</c:v>
                </c:pt>
                <c:pt idx="52">
                  <c:v>10.170974074187001</c:v>
                </c:pt>
                <c:pt idx="53">
                  <c:v>8.0204521529899999</c:v>
                </c:pt>
                <c:pt idx="54">
                  <c:v>7.005394153498</c:v>
                </c:pt>
                <c:pt idx="55">
                  <c:v>3.9939691066480001</c:v>
                </c:pt>
                <c:pt idx="56">
                  <c:v>9.848238642518</c:v>
                </c:pt>
                <c:pt idx="57">
                  <c:v>5.8293175812209999</c:v>
                </c:pt>
                <c:pt idx="58">
                  <c:v>11.480836570291</c:v>
                </c:pt>
                <c:pt idx="59">
                  <c:v>4.7091621458709998</c:v>
                </c:pt>
                <c:pt idx="60">
                  <c:v>2.7694438033690001</c:v>
                </c:pt>
                <c:pt idx="61">
                  <c:v>8.2904227194420006</c:v>
                </c:pt>
                <c:pt idx="62">
                  <c:v>0.91981934748000005</c:v>
                </c:pt>
                <c:pt idx="63">
                  <c:v>1.812546446502</c:v>
                </c:pt>
                <c:pt idx="64">
                  <c:v>8.0356425389049999</c:v>
                </c:pt>
                <c:pt idx="65">
                  <c:v>6.1514666854130002</c:v>
                </c:pt>
                <c:pt idx="66">
                  <c:v>8.6444619254670005</c:v>
                </c:pt>
                <c:pt idx="67">
                  <c:v>4.2370008812959998</c:v>
                </c:pt>
                <c:pt idx="68">
                  <c:v>4.2240432542019999</c:v>
                </c:pt>
                <c:pt idx="69">
                  <c:v>1.686909581646</c:v>
                </c:pt>
                <c:pt idx="70">
                  <c:v>7.4842207678810002</c:v>
                </c:pt>
                <c:pt idx="71">
                  <c:v>4.0978568208819999</c:v>
                </c:pt>
                <c:pt idx="72">
                  <c:v>4.0363269424819999</c:v>
                </c:pt>
                <c:pt idx="73">
                  <c:v>4.7573739295899999</c:v>
                </c:pt>
                <c:pt idx="74">
                  <c:v>3.9411973357500001</c:v>
                </c:pt>
                <c:pt idx="75">
                  <c:v>4.7112032413070004</c:v>
                </c:pt>
                <c:pt idx="76">
                  <c:v>3.1321697322770001</c:v>
                </c:pt>
                <c:pt idx="77">
                  <c:v>5.4688354505529997</c:v>
                </c:pt>
                <c:pt idx="78">
                  <c:v>5.3783268793410004</c:v>
                </c:pt>
                <c:pt idx="79">
                  <c:v>9.1102338293339997</c:v>
                </c:pt>
                <c:pt idx="80">
                  <c:v>2.9956263854770002</c:v>
                </c:pt>
                <c:pt idx="81">
                  <c:v>3.68968290865</c:v>
                </c:pt>
                <c:pt idx="82">
                  <c:v>0.73395572778999996</c:v>
                </c:pt>
                <c:pt idx="83">
                  <c:v>0.73197868478000006</c:v>
                </c:pt>
                <c:pt idx="84">
                  <c:v>5.0818172578510001</c:v>
                </c:pt>
                <c:pt idx="85">
                  <c:v>5.0348483431749997</c:v>
                </c:pt>
                <c:pt idx="86">
                  <c:v>2.1374981296889999</c:v>
                </c:pt>
                <c:pt idx="87">
                  <c:v>7.064142413111</c:v>
                </c:pt>
                <c:pt idx="88">
                  <c:v>4.1956281554619999</c:v>
                </c:pt>
                <c:pt idx="89">
                  <c:v>1.396141066093</c:v>
                </c:pt>
                <c:pt idx="90">
                  <c:v>2.788058744397</c:v>
                </c:pt>
                <c:pt idx="91">
                  <c:v>4.8551433307670004</c:v>
                </c:pt>
                <c:pt idx="92">
                  <c:v>7.5944298309200002</c:v>
                </c:pt>
                <c:pt idx="93">
                  <c:v>5.5013443910350004</c:v>
                </c:pt>
                <c:pt idx="94">
                  <c:v>2.053950431329</c:v>
                </c:pt>
                <c:pt idx="95">
                  <c:v>2.0459660369630002</c:v>
                </c:pt>
                <c:pt idx="96">
                  <c:v>0</c:v>
                </c:pt>
                <c:pt idx="97">
                  <c:v>0</c:v>
                </c:pt>
                <c:pt idx="98">
                  <c:v>2.7169483236419998</c:v>
                </c:pt>
                <c:pt idx="99">
                  <c:v>2.0323550930810002</c:v>
                </c:pt>
                <c:pt idx="100">
                  <c:v>4.0511525529009997</c:v>
                </c:pt>
                <c:pt idx="101">
                  <c:v>4.0396967534300003</c:v>
                </c:pt>
                <c:pt idx="102">
                  <c:v>1.3428406450999999</c:v>
                </c:pt>
                <c:pt idx="103">
                  <c:v>1.3423449423789999</c:v>
                </c:pt>
                <c:pt idx="104">
                  <c:v>0.67092030137699998</c:v>
                </c:pt>
                <c:pt idx="105">
                  <c:v>4.689677350198</c:v>
                </c:pt>
                <c:pt idx="106">
                  <c:v>2.0073200270310001</c:v>
                </c:pt>
                <c:pt idx="107">
                  <c:v>2.004008016032</c:v>
                </c:pt>
                <c:pt idx="108">
                  <c:v>2.666844456297</c:v>
                </c:pt>
                <c:pt idx="109">
                  <c:v>0.66507934396500001</c:v>
                </c:pt>
                <c:pt idx="110">
                  <c:v>0.66495551447599999</c:v>
                </c:pt>
                <c:pt idx="111">
                  <c:v>0</c:v>
                </c:pt>
                <c:pt idx="112">
                  <c:v>1.991053532792</c:v>
                </c:pt>
                <c:pt idx="113">
                  <c:v>1.325741255079</c:v>
                </c:pt>
                <c:pt idx="114">
                  <c:v>0.66144565562400004</c:v>
                </c:pt>
                <c:pt idx="115">
                  <c:v>1.9801326688880001</c:v>
                </c:pt>
                <c:pt idx="116">
                  <c:v>2.6344907529369999</c:v>
                </c:pt>
                <c:pt idx="117">
                  <c:v>0.65673680615700003</c:v>
                </c:pt>
                <c:pt idx="118">
                  <c:v>0</c:v>
                </c:pt>
                <c:pt idx="119">
                  <c:v>1.3099206843019999</c:v>
                </c:pt>
                <c:pt idx="120">
                  <c:v>0</c:v>
                </c:pt>
                <c:pt idx="121">
                  <c:v>0</c:v>
                </c:pt>
                <c:pt idx="122">
                  <c:v>1.291063901207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638430991994</c:v>
                </c:pt>
                <c:pt idx="127">
                  <c:v>0.63579662137600002</c:v>
                </c:pt>
                <c:pt idx="128">
                  <c:v>0</c:v>
                </c:pt>
                <c:pt idx="129">
                  <c:v>0</c:v>
                </c:pt>
                <c:pt idx="131">
                  <c:v>0.62539478045499997</c:v>
                </c:pt>
                <c:pt idx="132">
                  <c:v>0.624480900251</c:v>
                </c:pt>
                <c:pt idx="133">
                  <c:v>0</c:v>
                </c:pt>
                <c:pt idx="135">
                  <c:v>0</c:v>
                </c:pt>
                <c:pt idx="136">
                  <c:v>0.61557023348499995</c:v>
                </c:pt>
                <c:pt idx="137">
                  <c:v>0</c:v>
                </c:pt>
                <c:pt idx="138">
                  <c:v>0.61188276326199997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59845120827200005</c:v>
                </c:pt>
                <c:pt idx="148">
                  <c:v>0</c:v>
                </c:pt>
                <c:pt idx="150">
                  <c:v>0.59283851078899996</c:v>
                </c:pt>
                <c:pt idx="151">
                  <c:v>1.181418647511</c:v>
                </c:pt>
                <c:pt idx="153">
                  <c:v>0.58938285721000006</c:v>
                </c:pt>
                <c:pt idx="154">
                  <c:v>1.1755854415489999</c:v>
                </c:pt>
                <c:pt idx="155">
                  <c:v>0</c:v>
                </c:pt>
                <c:pt idx="156">
                  <c:v>0.58414968251400001</c:v>
                </c:pt>
                <c:pt idx="157">
                  <c:v>1.746785913918</c:v>
                </c:pt>
                <c:pt idx="158">
                  <c:v>1.160429358862</c:v>
                </c:pt>
                <c:pt idx="159">
                  <c:v>0</c:v>
                </c:pt>
                <c:pt idx="161">
                  <c:v>2.8878364329439998</c:v>
                </c:pt>
                <c:pt idx="162">
                  <c:v>0.57583452818900005</c:v>
                </c:pt>
                <c:pt idx="163">
                  <c:v>2.2959871883909999</c:v>
                </c:pt>
                <c:pt idx="164">
                  <c:v>0.57204310916800005</c:v>
                </c:pt>
                <c:pt idx="165">
                  <c:v>2.8511473016740001</c:v>
                </c:pt>
                <c:pt idx="166">
                  <c:v>0</c:v>
                </c:pt>
                <c:pt idx="167">
                  <c:v>0.56931073549199995</c:v>
                </c:pt>
                <c:pt idx="168">
                  <c:v>2.2758695244</c:v>
                </c:pt>
                <c:pt idx="169">
                  <c:v>2.8428312324810001</c:v>
                </c:pt>
                <c:pt idx="170">
                  <c:v>1.1339732722489999</c:v>
                </c:pt>
                <c:pt idx="171">
                  <c:v>2.8279903169609999</c:v>
                </c:pt>
                <c:pt idx="172">
                  <c:v>1.692391010018</c:v>
                </c:pt>
                <c:pt idx="173">
                  <c:v>0.56356760838800002</c:v>
                </c:pt>
                <c:pt idx="174">
                  <c:v>0</c:v>
                </c:pt>
                <c:pt idx="175">
                  <c:v>2.8092728478160001</c:v>
                </c:pt>
                <c:pt idx="176">
                  <c:v>1.681859463823</c:v>
                </c:pt>
                <c:pt idx="177">
                  <c:v>1.118180496695</c:v>
                </c:pt>
                <c:pt idx="178">
                  <c:v>0.557724484104</c:v>
                </c:pt>
                <c:pt idx="179">
                  <c:v>1.112501738283</c:v>
                </c:pt>
                <c:pt idx="180">
                  <c:v>0.55580566810599996</c:v>
                </c:pt>
                <c:pt idx="181">
                  <c:v>0.55531491908999997</c:v>
                </c:pt>
                <c:pt idx="182">
                  <c:v>1.1079473060259999</c:v>
                </c:pt>
                <c:pt idx="183">
                  <c:v>2.2102011835619999</c:v>
                </c:pt>
                <c:pt idx="184">
                  <c:v>2.2046705946539999</c:v>
                </c:pt>
                <c:pt idx="185">
                  <c:v>1.6493575752239999</c:v>
                </c:pt>
                <c:pt idx="186">
                  <c:v>0.54856440694700004</c:v>
                </c:pt>
                <c:pt idx="187">
                  <c:v>0</c:v>
                </c:pt>
                <c:pt idx="188">
                  <c:v>1.0952002847519999</c:v>
                </c:pt>
                <c:pt idx="189">
                  <c:v>1.6400522629980001</c:v>
                </c:pt>
                <c:pt idx="190">
                  <c:v>1.0911550967849999</c:v>
                </c:pt>
                <c:pt idx="191">
                  <c:v>2.1777596297800002</c:v>
                </c:pt>
                <c:pt idx="192">
                  <c:v>1.086991967129</c:v>
                </c:pt>
                <c:pt idx="193">
                  <c:v>1.6275600162749999</c:v>
                </c:pt>
                <c:pt idx="194">
                  <c:v>0.54215234480800001</c:v>
                </c:pt>
                <c:pt idx="195">
                  <c:v>0.54184683073700002</c:v>
                </c:pt>
                <c:pt idx="196">
                  <c:v>1.623209734929</c:v>
                </c:pt>
                <c:pt idx="197">
                  <c:v>0.54021641069399995</c:v>
                </c:pt>
                <c:pt idx="198">
                  <c:v>0</c:v>
                </c:pt>
                <c:pt idx="199">
                  <c:v>1.6153436105079999</c:v>
                </c:pt>
                <c:pt idx="200">
                  <c:v>0.53740615545000003</c:v>
                </c:pt>
                <c:pt idx="201">
                  <c:v>0.53703673868299995</c:v>
                </c:pt>
                <c:pt idx="202">
                  <c:v>1.073496970054</c:v>
                </c:pt>
                <c:pt idx="203">
                  <c:v>2.142738526974</c:v>
                </c:pt>
                <c:pt idx="204">
                  <c:v>1.6044925792210001</c:v>
                </c:pt>
                <c:pt idx="205">
                  <c:v>2.1352693108410001</c:v>
                </c:pt>
                <c:pt idx="206">
                  <c:v>0.53294676927600004</c:v>
                </c:pt>
                <c:pt idx="207">
                  <c:v>1.595770145268</c:v>
                </c:pt>
                <c:pt idx="208">
                  <c:v>0.53168581621699995</c:v>
                </c:pt>
                <c:pt idx="209">
                  <c:v>0</c:v>
                </c:pt>
                <c:pt idx="210">
                  <c:v>0.53056027164599995</c:v>
                </c:pt>
                <c:pt idx="211">
                  <c:v>3.1792964217009998</c:v>
                </c:pt>
                <c:pt idx="212">
                  <c:v>2.6448869046349999</c:v>
                </c:pt>
                <c:pt idx="213">
                  <c:v>2.112367382935</c:v>
                </c:pt>
                <c:pt idx="214">
                  <c:v>4.2157405211699999</c:v>
                </c:pt>
                <c:pt idx="215">
                  <c:v>1.5801782441050001</c:v>
                </c:pt>
                <c:pt idx="216">
                  <c:v>1.0530528000670001</c:v>
                </c:pt>
                <c:pt idx="217">
                  <c:v>1.577088064597</c:v>
                </c:pt>
                <c:pt idx="218">
                  <c:v>3.6745213935879999</c:v>
                </c:pt>
                <c:pt idx="219">
                  <c:v>0.52422990626699995</c:v>
                </c:pt>
                <c:pt idx="220">
                  <c:v>2.0942846970610001</c:v>
                </c:pt>
                <c:pt idx="221">
                  <c:v>2.091481396272</c:v>
                </c:pt>
                <c:pt idx="222">
                  <c:v>1.568127290119</c:v>
                </c:pt>
                <c:pt idx="223">
                  <c:v>1.5676602148729999</c:v>
                </c:pt>
                <c:pt idx="224">
                  <c:v>3.6548562597240002</c:v>
                </c:pt>
                <c:pt idx="225">
                  <c:v>3.129939435671</c:v>
                </c:pt>
                <c:pt idx="226">
                  <c:v>2.606515245507</c:v>
                </c:pt>
                <c:pt idx="227">
                  <c:v>5.2091201275190002</c:v>
                </c:pt>
                <c:pt idx="228">
                  <c:v>1.5615565595780001</c:v>
                </c:pt>
                <c:pt idx="229">
                  <c:v>1.561296500614</c:v>
                </c:pt>
                <c:pt idx="230">
                  <c:v>2.0815336740110002</c:v>
                </c:pt>
                <c:pt idx="231">
                  <c:v>4.1602745781220003</c:v>
                </c:pt>
                <c:pt idx="232">
                  <c:v>5.1975592261869998</c:v>
                </c:pt>
                <c:pt idx="233">
                  <c:v>4.1558009786910004</c:v>
                </c:pt>
                <c:pt idx="234">
                  <c:v>4.1535570023770001</c:v>
                </c:pt>
                <c:pt idx="235">
                  <c:v>3.1130019715669999</c:v>
                </c:pt>
                <c:pt idx="236">
                  <c:v>2.0750977889829998</c:v>
                </c:pt>
                <c:pt idx="237">
                  <c:v>2.0749040356880002</c:v>
                </c:pt>
                <c:pt idx="238">
                  <c:v>6.2219687346069996</c:v>
                </c:pt>
                <c:pt idx="239">
                  <c:v>5.1820989573610001</c:v>
                </c:pt>
                <c:pt idx="240">
                  <c:v>5.1796027244709997</c:v>
                </c:pt>
                <c:pt idx="241">
                  <c:v>9.318120638601</c:v>
                </c:pt>
                <c:pt idx="242">
                  <c:v>2.0693008866949998</c:v>
                </c:pt>
                <c:pt idx="243">
                  <c:v>3.6209768360929999</c:v>
                </c:pt>
                <c:pt idx="244">
                  <c:v>5.1725029741890003</c:v>
                </c:pt>
                <c:pt idx="245">
                  <c:v>5.1698823334780002</c:v>
                </c:pt>
                <c:pt idx="246">
                  <c:v>6.2014221928220001</c:v>
                </c:pt>
                <c:pt idx="247">
                  <c:v>7.2325257012959998</c:v>
                </c:pt>
                <c:pt idx="248">
                  <c:v>10.327164573694001</c:v>
                </c:pt>
                <c:pt idx="249">
                  <c:v>8.2565303995120001</c:v>
                </c:pt>
                <c:pt idx="250">
                  <c:v>4.1278817774650003</c:v>
                </c:pt>
                <c:pt idx="251">
                  <c:v>2.5797397558530002</c:v>
                </c:pt>
                <c:pt idx="252">
                  <c:v>10.830604192991</c:v>
                </c:pt>
                <c:pt idx="253">
                  <c:v>17.019257547782001</c:v>
                </c:pt>
                <c:pt idx="254">
                  <c:v>16.494675312624999</c:v>
                </c:pt>
                <c:pt idx="255">
                  <c:v>11.335823779466001</c:v>
                </c:pt>
                <c:pt idx="256">
                  <c:v>12.876310164558999</c:v>
                </c:pt>
                <c:pt idx="257">
                  <c:v>7.7253086260790003</c:v>
                </c:pt>
                <c:pt idx="258">
                  <c:v>8.2400321361250004</c:v>
                </c:pt>
                <c:pt idx="259">
                  <c:v>20.592550644804</c:v>
                </c:pt>
                <c:pt idx="260">
                  <c:v>29.848288355049998</c:v>
                </c:pt>
                <c:pt idx="261">
                  <c:v>24.179939910276001</c:v>
                </c:pt>
                <c:pt idx="262">
                  <c:v>32.400740588356001</c:v>
                </c:pt>
                <c:pt idx="263">
                  <c:v>28.272838027481001</c:v>
                </c:pt>
                <c:pt idx="264">
                  <c:v>22.102741768013001</c:v>
                </c:pt>
                <c:pt idx="265">
                  <c:v>13.364173734257999</c:v>
                </c:pt>
                <c:pt idx="266">
                  <c:v>57.033341383084</c:v>
                </c:pt>
                <c:pt idx="267">
                  <c:v>51.366872476601998</c:v>
                </c:pt>
                <c:pt idx="268">
                  <c:v>44.163940655988</c:v>
                </c:pt>
                <c:pt idx="269">
                  <c:v>27.720596916853001</c:v>
                </c:pt>
                <c:pt idx="270">
                  <c:v>58.489733512565003</c:v>
                </c:pt>
                <c:pt idx="271">
                  <c:v>37.450685655360999</c:v>
                </c:pt>
                <c:pt idx="272">
                  <c:v>31.806452605819999</c:v>
                </c:pt>
                <c:pt idx="273">
                  <c:v>95.391953227171001</c:v>
                </c:pt>
                <c:pt idx="274">
                  <c:v>74.866419846780005</c:v>
                </c:pt>
                <c:pt idx="275">
                  <c:v>72.278410285063003</c:v>
                </c:pt>
                <c:pt idx="276">
                  <c:v>74.295727739461995</c:v>
                </c:pt>
                <c:pt idx="277">
                  <c:v>92.681727874157005</c:v>
                </c:pt>
                <c:pt idx="278">
                  <c:v>52.734245004325999</c:v>
                </c:pt>
                <c:pt idx="279">
                  <c:v>31.227443291474</c:v>
                </c:pt>
                <c:pt idx="280">
                  <c:v>96.201572998060001</c:v>
                </c:pt>
                <c:pt idx="281">
                  <c:v>105.34120835570501</c:v>
                </c:pt>
                <c:pt idx="282">
                  <c:v>98.108348407272004</c:v>
                </c:pt>
                <c:pt idx="283">
                  <c:v>69.99330720931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BBF-4B7D-8698-1A7B4E221F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42.950299999999999</c:v>
                </c:pt>
                <c:pt idx="1">
                  <c:v>27.35408</c:v>
                </c:pt>
                <c:pt idx="2">
                  <c:v>22.59714</c:v>
                </c:pt>
                <c:pt idx="3">
                  <c:v>20.769010000000002</c:v>
                </c:pt>
                <c:pt idx="4">
                  <c:v>19.835599999999999</c:v>
                </c:pt>
                <c:pt idx="5">
                  <c:v>23.190580000000001</c:v>
                </c:pt>
                <c:pt idx="6">
                  <c:v>34.598309999999998</c:v>
                </c:pt>
                <c:pt idx="7">
                  <c:v>17.388010000000001</c:v>
                </c:pt>
                <c:pt idx="8">
                  <c:v>24.647020000000001</c:v>
                </c:pt>
                <c:pt idx="9">
                  <c:v>22.925840000000001</c:v>
                </c:pt>
                <c:pt idx="10">
                  <c:v>28.8700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43.078809999999997</c:v>
                </c:pt>
                <c:pt idx="1">
                  <c:v>51.960340000000002</c:v>
                </c:pt>
                <c:pt idx="2">
                  <c:v>54.02948</c:v>
                </c:pt>
                <c:pt idx="3">
                  <c:v>54.66601</c:v>
                </c:pt>
                <c:pt idx="4">
                  <c:v>55.271619999999999</c:v>
                </c:pt>
                <c:pt idx="5">
                  <c:v>54.416879999999999</c:v>
                </c:pt>
                <c:pt idx="6">
                  <c:v>48.357750000000003</c:v>
                </c:pt>
                <c:pt idx="7">
                  <c:v>54.43627</c:v>
                </c:pt>
                <c:pt idx="8">
                  <c:v>53.865659999999998</c:v>
                </c:pt>
                <c:pt idx="9">
                  <c:v>53.916420000000002</c:v>
                </c:pt>
                <c:pt idx="10">
                  <c:v>50.86095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1.0050444000000001</c:v>
                </c:pt>
                <c:pt idx="1">
                  <c:v>1.7898586999999999</c:v>
                </c:pt>
                <c:pt idx="2">
                  <c:v>1.8948149000000001</c:v>
                </c:pt>
                <c:pt idx="3">
                  <c:v>1.9155206</c:v>
                </c:pt>
                <c:pt idx="4">
                  <c:v>2.1443888000000002</c:v>
                </c:pt>
                <c:pt idx="5">
                  <c:v>2.0741149999999999</c:v>
                </c:pt>
                <c:pt idx="6">
                  <c:v>1.4869063</c:v>
                </c:pt>
                <c:pt idx="7">
                  <c:v>1.8718892</c:v>
                </c:pt>
                <c:pt idx="8">
                  <c:v>1.6723783000000001</c:v>
                </c:pt>
                <c:pt idx="9">
                  <c:v>1.8174074</c:v>
                </c:pt>
                <c:pt idx="10">
                  <c:v>1.6639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2.2498420000000001</c:v>
                </c:pt>
                <c:pt idx="1">
                  <c:v>7.0839819999999998</c:v>
                </c:pt>
                <c:pt idx="2">
                  <c:v>6.8248220000000002</c:v>
                </c:pt>
                <c:pt idx="3">
                  <c:v>6.104406</c:v>
                </c:pt>
                <c:pt idx="4">
                  <c:v>9.4353110000000004</c:v>
                </c:pt>
                <c:pt idx="5">
                  <c:v>7.3048359999999999</c:v>
                </c:pt>
                <c:pt idx="6">
                  <c:v>4.9045719999999999</c:v>
                </c:pt>
                <c:pt idx="7">
                  <c:v>8.1475869999999997</c:v>
                </c:pt>
                <c:pt idx="8">
                  <c:v>6.4084989999999999</c:v>
                </c:pt>
                <c:pt idx="9">
                  <c:v>6.0343600000000004</c:v>
                </c:pt>
                <c:pt idx="10">
                  <c:v>5.974364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10.715999999999999</c:v>
                </c:pt>
                <c:pt idx="1">
                  <c:v>11.811730000000001</c:v>
                </c:pt>
                <c:pt idx="2">
                  <c:v>14.653740000000001</c:v>
                </c:pt>
                <c:pt idx="3">
                  <c:v>16.54505</c:v>
                </c:pt>
                <c:pt idx="4">
                  <c:v>13.313079999999999</c:v>
                </c:pt>
                <c:pt idx="5">
                  <c:v>13.013590000000001</c:v>
                </c:pt>
                <c:pt idx="6">
                  <c:v>10.65246</c:v>
                </c:pt>
                <c:pt idx="7">
                  <c:v>18.15624</c:v>
                </c:pt>
                <c:pt idx="8">
                  <c:v>13.40644</c:v>
                </c:pt>
                <c:pt idx="9">
                  <c:v>15.30598</c:v>
                </c:pt>
                <c:pt idx="10">
                  <c:v>12.63064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46373336375452E-2"/>
          <c:y val="2.9235580326475268E-2"/>
          <c:w val="0.7481746992431868"/>
          <c:h val="0.8425285145779423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acovníci v zařízeních sociálních služeb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1.663132121161326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206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78D-4A9E-835E-C0CA09B7B5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206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A$2:$A$184</c:f>
              <c:numCache>
                <c:formatCode>dd/mm/yy;@</c:formatCode>
                <c:ptCount val="183"/>
                <c:pt idx="0">
                  <c:v>44336</c:v>
                </c:pt>
                <c:pt idx="1">
                  <c:v>44337</c:v>
                </c:pt>
                <c:pt idx="2">
                  <c:v>44338</c:v>
                </c:pt>
                <c:pt idx="3">
                  <c:v>44339</c:v>
                </c:pt>
                <c:pt idx="4">
                  <c:v>44340</c:v>
                </c:pt>
                <c:pt idx="5">
                  <c:v>44341</c:v>
                </c:pt>
                <c:pt idx="6">
                  <c:v>44342</c:v>
                </c:pt>
                <c:pt idx="7">
                  <c:v>44343</c:v>
                </c:pt>
                <c:pt idx="8">
                  <c:v>44344</c:v>
                </c:pt>
                <c:pt idx="9">
                  <c:v>44345</c:v>
                </c:pt>
                <c:pt idx="10">
                  <c:v>44346</c:v>
                </c:pt>
                <c:pt idx="11">
                  <c:v>44347</c:v>
                </c:pt>
                <c:pt idx="12">
                  <c:v>44348</c:v>
                </c:pt>
                <c:pt idx="13">
                  <c:v>44349</c:v>
                </c:pt>
                <c:pt idx="14">
                  <c:v>44350</c:v>
                </c:pt>
                <c:pt idx="15">
                  <c:v>44351</c:v>
                </c:pt>
                <c:pt idx="16">
                  <c:v>44352</c:v>
                </c:pt>
                <c:pt idx="17">
                  <c:v>44353</c:v>
                </c:pt>
                <c:pt idx="18">
                  <c:v>44354</c:v>
                </c:pt>
                <c:pt idx="19">
                  <c:v>44355</c:v>
                </c:pt>
                <c:pt idx="20">
                  <c:v>44356</c:v>
                </c:pt>
                <c:pt idx="21">
                  <c:v>44357</c:v>
                </c:pt>
                <c:pt idx="22">
                  <c:v>44358</c:v>
                </c:pt>
                <c:pt idx="23">
                  <c:v>44359</c:v>
                </c:pt>
                <c:pt idx="24">
                  <c:v>44360</c:v>
                </c:pt>
                <c:pt idx="25">
                  <c:v>44361</c:v>
                </c:pt>
                <c:pt idx="26">
                  <c:v>44362</c:v>
                </c:pt>
                <c:pt idx="27">
                  <c:v>44363</c:v>
                </c:pt>
                <c:pt idx="28">
                  <c:v>44364</c:v>
                </c:pt>
                <c:pt idx="29">
                  <c:v>44365</c:v>
                </c:pt>
                <c:pt idx="30">
                  <c:v>44366</c:v>
                </c:pt>
                <c:pt idx="31">
                  <c:v>44367</c:v>
                </c:pt>
                <c:pt idx="32">
                  <c:v>44368</c:v>
                </c:pt>
                <c:pt idx="33">
                  <c:v>44369</c:v>
                </c:pt>
                <c:pt idx="34">
                  <c:v>44370</c:v>
                </c:pt>
                <c:pt idx="35">
                  <c:v>44371</c:v>
                </c:pt>
                <c:pt idx="36">
                  <c:v>44372</c:v>
                </c:pt>
                <c:pt idx="37">
                  <c:v>44373</c:v>
                </c:pt>
                <c:pt idx="38">
                  <c:v>44374</c:v>
                </c:pt>
                <c:pt idx="39">
                  <c:v>44375</c:v>
                </c:pt>
                <c:pt idx="40">
                  <c:v>44376</c:v>
                </c:pt>
                <c:pt idx="41">
                  <c:v>44377</c:v>
                </c:pt>
                <c:pt idx="42">
                  <c:v>44378</c:v>
                </c:pt>
                <c:pt idx="43">
                  <c:v>44379</c:v>
                </c:pt>
                <c:pt idx="44">
                  <c:v>44380</c:v>
                </c:pt>
                <c:pt idx="45">
                  <c:v>44381</c:v>
                </c:pt>
                <c:pt idx="46">
                  <c:v>44382</c:v>
                </c:pt>
                <c:pt idx="47">
                  <c:v>44383</c:v>
                </c:pt>
                <c:pt idx="48">
                  <c:v>44384</c:v>
                </c:pt>
                <c:pt idx="49">
                  <c:v>44385</c:v>
                </c:pt>
                <c:pt idx="50">
                  <c:v>44386</c:v>
                </c:pt>
                <c:pt idx="51">
                  <c:v>44387</c:v>
                </c:pt>
                <c:pt idx="52">
                  <c:v>44388</c:v>
                </c:pt>
                <c:pt idx="53">
                  <c:v>44389</c:v>
                </c:pt>
                <c:pt idx="54">
                  <c:v>44390</c:v>
                </c:pt>
                <c:pt idx="55">
                  <c:v>44391</c:v>
                </c:pt>
                <c:pt idx="56">
                  <c:v>44392</c:v>
                </c:pt>
                <c:pt idx="57">
                  <c:v>44393</c:v>
                </c:pt>
                <c:pt idx="58">
                  <c:v>44394</c:v>
                </c:pt>
                <c:pt idx="59">
                  <c:v>44395</c:v>
                </c:pt>
                <c:pt idx="60">
                  <c:v>44396</c:v>
                </c:pt>
                <c:pt idx="61">
                  <c:v>44397</c:v>
                </c:pt>
                <c:pt idx="62">
                  <c:v>44398</c:v>
                </c:pt>
                <c:pt idx="63">
                  <c:v>44399</c:v>
                </c:pt>
                <c:pt idx="64">
                  <c:v>44400</c:v>
                </c:pt>
                <c:pt idx="65">
                  <c:v>44401</c:v>
                </c:pt>
                <c:pt idx="66">
                  <c:v>44402</c:v>
                </c:pt>
                <c:pt idx="67">
                  <c:v>44403</c:v>
                </c:pt>
                <c:pt idx="68">
                  <c:v>44404</c:v>
                </c:pt>
                <c:pt idx="69">
                  <c:v>44405</c:v>
                </c:pt>
                <c:pt idx="70">
                  <c:v>44406</c:v>
                </c:pt>
                <c:pt idx="71">
                  <c:v>44407</c:v>
                </c:pt>
                <c:pt idx="72">
                  <c:v>44408</c:v>
                </c:pt>
                <c:pt idx="73">
                  <c:v>44409</c:v>
                </c:pt>
                <c:pt idx="74">
                  <c:v>44410</c:v>
                </c:pt>
                <c:pt idx="75">
                  <c:v>44411</c:v>
                </c:pt>
                <c:pt idx="76">
                  <c:v>44412</c:v>
                </c:pt>
                <c:pt idx="77">
                  <c:v>44413</c:v>
                </c:pt>
                <c:pt idx="78">
                  <c:v>44414</c:v>
                </c:pt>
                <c:pt idx="79">
                  <c:v>44415</c:v>
                </c:pt>
                <c:pt idx="80">
                  <c:v>44416</c:v>
                </c:pt>
                <c:pt idx="81">
                  <c:v>44417</c:v>
                </c:pt>
                <c:pt idx="82">
                  <c:v>44418</c:v>
                </c:pt>
                <c:pt idx="83">
                  <c:v>44419</c:v>
                </c:pt>
                <c:pt idx="84">
                  <c:v>44420</c:v>
                </c:pt>
                <c:pt idx="85">
                  <c:v>44421</c:v>
                </c:pt>
                <c:pt idx="86">
                  <c:v>44422</c:v>
                </c:pt>
                <c:pt idx="87">
                  <c:v>44423</c:v>
                </c:pt>
                <c:pt idx="88">
                  <c:v>44424</c:v>
                </c:pt>
                <c:pt idx="89">
                  <c:v>44425</c:v>
                </c:pt>
                <c:pt idx="90">
                  <c:v>44426</c:v>
                </c:pt>
                <c:pt idx="91">
                  <c:v>44427</c:v>
                </c:pt>
                <c:pt idx="92">
                  <c:v>44428</c:v>
                </c:pt>
                <c:pt idx="93">
                  <c:v>44429</c:v>
                </c:pt>
                <c:pt idx="94">
                  <c:v>44430</c:v>
                </c:pt>
                <c:pt idx="95">
                  <c:v>44431</c:v>
                </c:pt>
                <c:pt idx="96">
                  <c:v>44432</c:v>
                </c:pt>
                <c:pt idx="97">
                  <c:v>44433</c:v>
                </c:pt>
                <c:pt idx="98">
                  <c:v>44434</c:v>
                </c:pt>
                <c:pt idx="99">
                  <c:v>44435</c:v>
                </c:pt>
                <c:pt idx="100">
                  <c:v>44436</c:v>
                </c:pt>
                <c:pt idx="101">
                  <c:v>44437</c:v>
                </c:pt>
                <c:pt idx="102">
                  <c:v>44438</c:v>
                </c:pt>
                <c:pt idx="103">
                  <c:v>44439</c:v>
                </c:pt>
                <c:pt idx="104">
                  <c:v>44440</c:v>
                </c:pt>
                <c:pt idx="105">
                  <c:v>44441</c:v>
                </c:pt>
                <c:pt idx="106">
                  <c:v>44442</c:v>
                </c:pt>
                <c:pt idx="107">
                  <c:v>44443</c:v>
                </c:pt>
                <c:pt idx="108">
                  <c:v>44444</c:v>
                </c:pt>
                <c:pt idx="109">
                  <c:v>44445</c:v>
                </c:pt>
                <c:pt idx="110">
                  <c:v>44446</c:v>
                </c:pt>
                <c:pt idx="111">
                  <c:v>44447</c:v>
                </c:pt>
                <c:pt idx="112">
                  <c:v>44448</c:v>
                </c:pt>
                <c:pt idx="113">
                  <c:v>44449</c:v>
                </c:pt>
                <c:pt idx="114">
                  <c:v>44450</c:v>
                </c:pt>
                <c:pt idx="115">
                  <c:v>44451</c:v>
                </c:pt>
                <c:pt idx="116">
                  <c:v>44452</c:v>
                </c:pt>
                <c:pt idx="117">
                  <c:v>44453</c:v>
                </c:pt>
                <c:pt idx="118">
                  <c:v>44454</c:v>
                </c:pt>
                <c:pt idx="119">
                  <c:v>44455</c:v>
                </c:pt>
                <c:pt idx="120">
                  <c:v>44456</c:v>
                </c:pt>
                <c:pt idx="121">
                  <c:v>44457</c:v>
                </c:pt>
                <c:pt idx="122">
                  <c:v>44458</c:v>
                </c:pt>
                <c:pt idx="123">
                  <c:v>44459</c:v>
                </c:pt>
                <c:pt idx="124">
                  <c:v>44460</c:v>
                </c:pt>
                <c:pt idx="125">
                  <c:v>44461</c:v>
                </c:pt>
                <c:pt idx="126">
                  <c:v>44462</c:v>
                </c:pt>
                <c:pt idx="127">
                  <c:v>44463</c:v>
                </c:pt>
                <c:pt idx="128">
                  <c:v>44464</c:v>
                </c:pt>
                <c:pt idx="129">
                  <c:v>44465</c:v>
                </c:pt>
                <c:pt idx="130">
                  <c:v>44466</c:v>
                </c:pt>
                <c:pt idx="131">
                  <c:v>44467</c:v>
                </c:pt>
                <c:pt idx="132">
                  <c:v>44468</c:v>
                </c:pt>
                <c:pt idx="133">
                  <c:v>44469</c:v>
                </c:pt>
                <c:pt idx="134">
                  <c:v>44470</c:v>
                </c:pt>
                <c:pt idx="135">
                  <c:v>44471</c:v>
                </c:pt>
                <c:pt idx="136">
                  <c:v>44472</c:v>
                </c:pt>
                <c:pt idx="137">
                  <c:v>44473</c:v>
                </c:pt>
                <c:pt idx="138">
                  <c:v>44474</c:v>
                </c:pt>
                <c:pt idx="139">
                  <c:v>44475</c:v>
                </c:pt>
                <c:pt idx="140">
                  <c:v>44476</c:v>
                </c:pt>
                <c:pt idx="141">
                  <c:v>44477</c:v>
                </c:pt>
                <c:pt idx="142">
                  <c:v>44478</c:v>
                </c:pt>
                <c:pt idx="143">
                  <c:v>44479</c:v>
                </c:pt>
                <c:pt idx="144">
                  <c:v>44480</c:v>
                </c:pt>
                <c:pt idx="145">
                  <c:v>44481</c:v>
                </c:pt>
                <c:pt idx="146">
                  <c:v>44482</c:v>
                </c:pt>
                <c:pt idx="147">
                  <c:v>44483</c:v>
                </c:pt>
                <c:pt idx="148">
                  <c:v>44484</c:v>
                </c:pt>
                <c:pt idx="149">
                  <c:v>44485</c:v>
                </c:pt>
                <c:pt idx="150">
                  <c:v>44486</c:v>
                </c:pt>
                <c:pt idx="151">
                  <c:v>44487</c:v>
                </c:pt>
                <c:pt idx="152">
                  <c:v>44488</c:v>
                </c:pt>
                <c:pt idx="153">
                  <c:v>44489</c:v>
                </c:pt>
                <c:pt idx="154">
                  <c:v>44490</c:v>
                </c:pt>
                <c:pt idx="155">
                  <c:v>44491</c:v>
                </c:pt>
                <c:pt idx="156">
                  <c:v>44492</c:v>
                </c:pt>
                <c:pt idx="157">
                  <c:v>44493</c:v>
                </c:pt>
                <c:pt idx="158">
                  <c:v>44494</c:v>
                </c:pt>
                <c:pt idx="159">
                  <c:v>44495</c:v>
                </c:pt>
                <c:pt idx="160">
                  <c:v>44496</c:v>
                </c:pt>
                <c:pt idx="161">
                  <c:v>44497</c:v>
                </c:pt>
                <c:pt idx="162">
                  <c:v>44498</c:v>
                </c:pt>
                <c:pt idx="163">
                  <c:v>44499</c:v>
                </c:pt>
                <c:pt idx="164">
                  <c:v>44500</c:v>
                </c:pt>
                <c:pt idx="165">
                  <c:v>44501</c:v>
                </c:pt>
                <c:pt idx="166">
                  <c:v>44502</c:v>
                </c:pt>
                <c:pt idx="167">
                  <c:v>44503</c:v>
                </c:pt>
                <c:pt idx="168">
                  <c:v>44504</c:v>
                </c:pt>
                <c:pt idx="169">
                  <c:v>44505</c:v>
                </c:pt>
                <c:pt idx="170">
                  <c:v>44506</c:v>
                </c:pt>
                <c:pt idx="171">
                  <c:v>44507</c:v>
                </c:pt>
                <c:pt idx="172">
                  <c:v>44508</c:v>
                </c:pt>
                <c:pt idx="173">
                  <c:v>44509</c:v>
                </c:pt>
                <c:pt idx="174">
                  <c:v>44510</c:v>
                </c:pt>
                <c:pt idx="175">
                  <c:v>44511</c:v>
                </c:pt>
                <c:pt idx="176">
                  <c:v>44512</c:v>
                </c:pt>
                <c:pt idx="177">
                  <c:v>44513</c:v>
                </c:pt>
                <c:pt idx="178">
                  <c:v>44514</c:v>
                </c:pt>
                <c:pt idx="179">
                  <c:v>44515</c:v>
                </c:pt>
                <c:pt idx="180">
                  <c:v>44516</c:v>
                </c:pt>
                <c:pt idx="181">
                  <c:v>44517</c:v>
                </c:pt>
                <c:pt idx="182">
                  <c:v>44518</c:v>
                </c:pt>
              </c:numCache>
            </c:numRef>
          </c:cat>
          <c:val>
            <c:numRef>
              <c:f>List1!$B$2:$B$184</c:f>
              <c:numCache>
                <c:formatCode>General</c:formatCode>
                <c:ptCount val="183"/>
                <c:pt idx="0">
                  <c:v>54</c:v>
                </c:pt>
                <c:pt idx="1">
                  <c:v>53</c:v>
                </c:pt>
                <c:pt idx="2">
                  <c:v>50</c:v>
                </c:pt>
                <c:pt idx="3">
                  <c:v>50</c:v>
                </c:pt>
                <c:pt idx="4">
                  <c:v>52</c:v>
                </c:pt>
                <c:pt idx="5">
                  <c:v>50</c:v>
                </c:pt>
                <c:pt idx="6">
                  <c:v>47</c:v>
                </c:pt>
                <c:pt idx="7">
                  <c:v>46</c:v>
                </c:pt>
                <c:pt idx="8">
                  <c:v>44</c:v>
                </c:pt>
                <c:pt idx="9">
                  <c:v>42</c:v>
                </c:pt>
                <c:pt idx="10">
                  <c:v>42</c:v>
                </c:pt>
                <c:pt idx="11">
                  <c:v>41</c:v>
                </c:pt>
                <c:pt idx="12">
                  <c:v>38</c:v>
                </c:pt>
                <c:pt idx="13">
                  <c:v>35</c:v>
                </c:pt>
                <c:pt idx="14">
                  <c:v>34</c:v>
                </c:pt>
                <c:pt idx="15">
                  <c:v>33</c:v>
                </c:pt>
                <c:pt idx="16">
                  <c:v>33</c:v>
                </c:pt>
                <c:pt idx="17">
                  <c:v>33</c:v>
                </c:pt>
                <c:pt idx="18">
                  <c:v>32</c:v>
                </c:pt>
                <c:pt idx="19">
                  <c:v>30</c:v>
                </c:pt>
                <c:pt idx="20">
                  <c:v>28</c:v>
                </c:pt>
                <c:pt idx="21">
                  <c:v>28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7</c:v>
                </c:pt>
                <c:pt idx="29">
                  <c:v>27</c:v>
                </c:pt>
                <c:pt idx="30">
                  <c:v>27</c:v>
                </c:pt>
                <c:pt idx="31">
                  <c:v>27</c:v>
                </c:pt>
                <c:pt idx="32">
                  <c:v>27</c:v>
                </c:pt>
                <c:pt idx="33">
                  <c:v>27</c:v>
                </c:pt>
                <c:pt idx="34">
                  <c:v>27</c:v>
                </c:pt>
                <c:pt idx="35">
                  <c:v>27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7</c:v>
                </c:pt>
                <c:pt idx="42">
                  <c:v>27</c:v>
                </c:pt>
                <c:pt idx="43">
                  <c:v>27</c:v>
                </c:pt>
                <c:pt idx="44">
                  <c:v>27</c:v>
                </c:pt>
                <c:pt idx="45">
                  <c:v>27</c:v>
                </c:pt>
                <c:pt idx="46">
                  <c:v>27</c:v>
                </c:pt>
                <c:pt idx="47">
                  <c:v>27</c:v>
                </c:pt>
                <c:pt idx="48">
                  <c:v>27</c:v>
                </c:pt>
                <c:pt idx="49">
                  <c:v>27</c:v>
                </c:pt>
                <c:pt idx="50">
                  <c:v>27</c:v>
                </c:pt>
                <c:pt idx="51">
                  <c:v>27</c:v>
                </c:pt>
                <c:pt idx="52">
                  <c:v>28</c:v>
                </c:pt>
                <c:pt idx="53">
                  <c:v>28</c:v>
                </c:pt>
                <c:pt idx="54">
                  <c:v>28</c:v>
                </c:pt>
                <c:pt idx="55">
                  <c:v>28</c:v>
                </c:pt>
                <c:pt idx="56">
                  <c:v>28</c:v>
                </c:pt>
                <c:pt idx="57">
                  <c:v>27</c:v>
                </c:pt>
                <c:pt idx="58">
                  <c:v>27</c:v>
                </c:pt>
                <c:pt idx="59">
                  <c:v>27</c:v>
                </c:pt>
                <c:pt idx="60">
                  <c:v>27</c:v>
                </c:pt>
                <c:pt idx="61">
                  <c:v>27</c:v>
                </c:pt>
                <c:pt idx="62">
                  <c:v>28</c:v>
                </c:pt>
                <c:pt idx="63">
                  <c:v>27</c:v>
                </c:pt>
                <c:pt idx="64">
                  <c:v>27</c:v>
                </c:pt>
                <c:pt idx="65">
                  <c:v>26</c:v>
                </c:pt>
                <c:pt idx="66">
                  <c:v>26</c:v>
                </c:pt>
                <c:pt idx="67">
                  <c:v>25</c:v>
                </c:pt>
                <c:pt idx="68">
                  <c:v>26</c:v>
                </c:pt>
                <c:pt idx="69">
                  <c:v>27</c:v>
                </c:pt>
                <c:pt idx="70">
                  <c:v>27</c:v>
                </c:pt>
                <c:pt idx="71">
                  <c:v>27</c:v>
                </c:pt>
                <c:pt idx="72">
                  <c:v>27</c:v>
                </c:pt>
                <c:pt idx="73">
                  <c:v>27</c:v>
                </c:pt>
                <c:pt idx="74">
                  <c:v>27</c:v>
                </c:pt>
                <c:pt idx="75">
                  <c:v>27</c:v>
                </c:pt>
                <c:pt idx="76">
                  <c:v>27</c:v>
                </c:pt>
                <c:pt idx="77">
                  <c:v>26</c:v>
                </c:pt>
                <c:pt idx="78">
                  <c:v>26</c:v>
                </c:pt>
                <c:pt idx="79">
                  <c:v>26</c:v>
                </c:pt>
                <c:pt idx="80">
                  <c:v>27</c:v>
                </c:pt>
                <c:pt idx="81">
                  <c:v>27</c:v>
                </c:pt>
                <c:pt idx="82">
                  <c:v>26</c:v>
                </c:pt>
                <c:pt idx="83">
                  <c:v>26</c:v>
                </c:pt>
                <c:pt idx="84">
                  <c:v>26</c:v>
                </c:pt>
                <c:pt idx="85">
                  <c:v>26</c:v>
                </c:pt>
                <c:pt idx="86">
                  <c:v>26</c:v>
                </c:pt>
                <c:pt idx="87">
                  <c:v>26</c:v>
                </c:pt>
                <c:pt idx="88">
                  <c:v>26</c:v>
                </c:pt>
                <c:pt idx="89">
                  <c:v>25</c:v>
                </c:pt>
                <c:pt idx="90">
                  <c:v>25</c:v>
                </c:pt>
                <c:pt idx="91">
                  <c:v>25</c:v>
                </c:pt>
                <c:pt idx="92">
                  <c:v>25</c:v>
                </c:pt>
                <c:pt idx="93">
                  <c:v>25</c:v>
                </c:pt>
                <c:pt idx="94">
                  <c:v>25</c:v>
                </c:pt>
                <c:pt idx="95">
                  <c:v>26</c:v>
                </c:pt>
                <c:pt idx="96">
                  <c:v>26</c:v>
                </c:pt>
                <c:pt idx="97">
                  <c:v>26</c:v>
                </c:pt>
                <c:pt idx="98">
                  <c:v>26</c:v>
                </c:pt>
                <c:pt idx="99">
                  <c:v>27</c:v>
                </c:pt>
                <c:pt idx="100">
                  <c:v>27</c:v>
                </c:pt>
                <c:pt idx="101">
                  <c:v>27</c:v>
                </c:pt>
                <c:pt idx="102">
                  <c:v>27</c:v>
                </c:pt>
                <c:pt idx="103">
                  <c:v>27</c:v>
                </c:pt>
                <c:pt idx="104">
                  <c:v>29</c:v>
                </c:pt>
                <c:pt idx="105">
                  <c:v>30</c:v>
                </c:pt>
                <c:pt idx="106">
                  <c:v>31</c:v>
                </c:pt>
                <c:pt idx="107">
                  <c:v>31</c:v>
                </c:pt>
                <c:pt idx="108">
                  <c:v>31</c:v>
                </c:pt>
                <c:pt idx="109">
                  <c:v>32</c:v>
                </c:pt>
                <c:pt idx="110">
                  <c:v>33</c:v>
                </c:pt>
                <c:pt idx="111">
                  <c:v>34</c:v>
                </c:pt>
                <c:pt idx="112">
                  <c:v>35</c:v>
                </c:pt>
                <c:pt idx="113">
                  <c:v>35</c:v>
                </c:pt>
                <c:pt idx="114">
                  <c:v>34</c:v>
                </c:pt>
                <c:pt idx="115">
                  <c:v>33</c:v>
                </c:pt>
                <c:pt idx="116">
                  <c:v>33</c:v>
                </c:pt>
                <c:pt idx="117">
                  <c:v>34</c:v>
                </c:pt>
                <c:pt idx="118">
                  <c:v>33</c:v>
                </c:pt>
                <c:pt idx="119">
                  <c:v>33</c:v>
                </c:pt>
                <c:pt idx="120">
                  <c:v>32</c:v>
                </c:pt>
                <c:pt idx="121">
                  <c:v>30</c:v>
                </c:pt>
                <c:pt idx="122">
                  <c:v>30</c:v>
                </c:pt>
                <c:pt idx="123">
                  <c:v>34</c:v>
                </c:pt>
                <c:pt idx="124">
                  <c:v>36</c:v>
                </c:pt>
                <c:pt idx="125">
                  <c:v>36</c:v>
                </c:pt>
                <c:pt idx="126">
                  <c:v>36</c:v>
                </c:pt>
                <c:pt idx="127">
                  <c:v>36</c:v>
                </c:pt>
                <c:pt idx="128">
                  <c:v>37</c:v>
                </c:pt>
                <c:pt idx="129">
                  <c:v>37</c:v>
                </c:pt>
                <c:pt idx="130">
                  <c:v>41</c:v>
                </c:pt>
                <c:pt idx="131">
                  <c:v>43</c:v>
                </c:pt>
                <c:pt idx="132">
                  <c:v>48</c:v>
                </c:pt>
                <c:pt idx="133">
                  <c:v>49</c:v>
                </c:pt>
                <c:pt idx="134">
                  <c:v>50</c:v>
                </c:pt>
                <c:pt idx="135">
                  <c:v>49</c:v>
                </c:pt>
                <c:pt idx="136">
                  <c:v>48</c:v>
                </c:pt>
                <c:pt idx="137">
                  <c:v>50</c:v>
                </c:pt>
                <c:pt idx="138">
                  <c:v>52</c:v>
                </c:pt>
                <c:pt idx="139">
                  <c:v>52</c:v>
                </c:pt>
                <c:pt idx="140">
                  <c:v>53</c:v>
                </c:pt>
                <c:pt idx="141">
                  <c:v>54</c:v>
                </c:pt>
                <c:pt idx="142">
                  <c:v>55</c:v>
                </c:pt>
                <c:pt idx="143">
                  <c:v>53</c:v>
                </c:pt>
                <c:pt idx="144">
                  <c:v>55</c:v>
                </c:pt>
                <c:pt idx="145">
                  <c:v>51</c:v>
                </c:pt>
                <c:pt idx="146">
                  <c:v>51</c:v>
                </c:pt>
                <c:pt idx="147">
                  <c:v>47</c:v>
                </c:pt>
                <c:pt idx="148">
                  <c:v>52</c:v>
                </c:pt>
                <c:pt idx="149">
                  <c:v>52</c:v>
                </c:pt>
                <c:pt idx="150">
                  <c:v>53</c:v>
                </c:pt>
                <c:pt idx="151">
                  <c:v>65</c:v>
                </c:pt>
                <c:pt idx="152">
                  <c:v>68</c:v>
                </c:pt>
                <c:pt idx="153">
                  <c:v>76</c:v>
                </c:pt>
                <c:pt idx="154">
                  <c:v>79</c:v>
                </c:pt>
                <c:pt idx="155">
                  <c:v>85</c:v>
                </c:pt>
                <c:pt idx="156">
                  <c:v>81</c:v>
                </c:pt>
                <c:pt idx="157">
                  <c:v>84</c:v>
                </c:pt>
                <c:pt idx="158">
                  <c:v>99</c:v>
                </c:pt>
                <c:pt idx="159">
                  <c:v>101</c:v>
                </c:pt>
                <c:pt idx="160">
                  <c:v>112</c:v>
                </c:pt>
                <c:pt idx="161">
                  <c:v>113</c:v>
                </c:pt>
                <c:pt idx="162">
                  <c:v>118</c:v>
                </c:pt>
                <c:pt idx="163">
                  <c:v>117</c:v>
                </c:pt>
                <c:pt idx="164">
                  <c:v>118</c:v>
                </c:pt>
                <c:pt idx="165">
                  <c:v>153</c:v>
                </c:pt>
                <c:pt idx="166">
                  <c:v>163</c:v>
                </c:pt>
                <c:pt idx="167">
                  <c:v>174</c:v>
                </c:pt>
                <c:pt idx="168">
                  <c:v>189</c:v>
                </c:pt>
                <c:pt idx="169">
                  <c:v>202</c:v>
                </c:pt>
                <c:pt idx="170">
                  <c:v>212</c:v>
                </c:pt>
                <c:pt idx="171">
                  <c:v>213</c:v>
                </c:pt>
                <c:pt idx="172">
                  <c:v>243</c:v>
                </c:pt>
                <c:pt idx="173">
                  <c:v>263</c:v>
                </c:pt>
                <c:pt idx="174">
                  <c:v>280</c:v>
                </c:pt>
                <c:pt idx="175">
                  <c:v>310</c:v>
                </c:pt>
                <c:pt idx="176">
                  <c:v>338</c:v>
                </c:pt>
                <c:pt idx="177">
                  <c:v>345</c:v>
                </c:pt>
                <c:pt idx="178">
                  <c:v>351</c:v>
                </c:pt>
                <c:pt idx="179">
                  <c:v>381</c:v>
                </c:pt>
                <c:pt idx="180">
                  <c:v>412</c:v>
                </c:pt>
                <c:pt idx="181">
                  <c:v>412</c:v>
                </c:pt>
                <c:pt idx="182">
                  <c:v>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dateAx>
        <c:axId val="604314152"/>
        <c:scaling>
          <c:orientation val="minMax"/>
        </c:scaling>
        <c:delete val="0"/>
        <c:axPos val="b"/>
        <c:numFmt formatCode="dd/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Offset val="100"/>
        <c:baseTimeUnit val="days"/>
        <c:majorUnit val="7"/>
      </c:date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336</c:v>
                </c:pt>
                <c:pt idx="1">
                  <c:v>44337</c:v>
                </c:pt>
                <c:pt idx="2">
                  <c:v>44338</c:v>
                </c:pt>
                <c:pt idx="3">
                  <c:v>44339</c:v>
                </c:pt>
                <c:pt idx="4">
                  <c:v>44340</c:v>
                </c:pt>
                <c:pt idx="5">
                  <c:v>44341</c:v>
                </c:pt>
                <c:pt idx="6">
                  <c:v>44342</c:v>
                </c:pt>
                <c:pt idx="7">
                  <c:v>44343</c:v>
                </c:pt>
                <c:pt idx="8">
                  <c:v>44344</c:v>
                </c:pt>
                <c:pt idx="9">
                  <c:v>44345</c:v>
                </c:pt>
                <c:pt idx="10">
                  <c:v>44346</c:v>
                </c:pt>
                <c:pt idx="11">
                  <c:v>44347</c:v>
                </c:pt>
                <c:pt idx="12">
                  <c:v>44348</c:v>
                </c:pt>
                <c:pt idx="13">
                  <c:v>44349</c:v>
                </c:pt>
                <c:pt idx="14">
                  <c:v>44350</c:v>
                </c:pt>
                <c:pt idx="15">
                  <c:v>44351</c:v>
                </c:pt>
                <c:pt idx="16">
                  <c:v>44352</c:v>
                </c:pt>
                <c:pt idx="17">
                  <c:v>44353</c:v>
                </c:pt>
                <c:pt idx="18">
                  <c:v>44354</c:v>
                </c:pt>
                <c:pt idx="19">
                  <c:v>44355</c:v>
                </c:pt>
                <c:pt idx="20">
                  <c:v>44356</c:v>
                </c:pt>
                <c:pt idx="21">
                  <c:v>44357</c:v>
                </c:pt>
                <c:pt idx="22">
                  <c:v>44358</c:v>
                </c:pt>
                <c:pt idx="23">
                  <c:v>44359</c:v>
                </c:pt>
                <c:pt idx="24">
                  <c:v>44360</c:v>
                </c:pt>
                <c:pt idx="25">
                  <c:v>44361</c:v>
                </c:pt>
                <c:pt idx="26">
                  <c:v>44362</c:v>
                </c:pt>
                <c:pt idx="27">
                  <c:v>44363</c:v>
                </c:pt>
                <c:pt idx="28">
                  <c:v>44364</c:v>
                </c:pt>
                <c:pt idx="29">
                  <c:v>44365</c:v>
                </c:pt>
                <c:pt idx="30">
                  <c:v>44366</c:v>
                </c:pt>
                <c:pt idx="31">
                  <c:v>44367</c:v>
                </c:pt>
                <c:pt idx="32">
                  <c:v>44368</c:v>
                </c:pt>
                <c:pt idx="33">
                  <c:v>44369</c:v>
                </c:pt>
                <c:pt idx="34">
                  <c:v>44370</c:v>
                </c:pt>
                <c:pt idx="35">
                  <c:v>44371</c:v>
                </c:pt>
                <c:pt idx="36">
                  <c:v>44372</c:v>
                </c:pt>
                <c:pt idx="37">
                  <c:v>44373</c:v>
                </c:pt>
                <c:pt idx="38">
                  <c:v>44374</c:v>
                </c:pt>
                <c:pt idx="39">
                  <c:v>44375</c:v>
                </c:pt>
                <c:pt idx="40">
                  <c:v>44376</c:v>
                </c:pt>
                <c:pt idx="41">
                  <c:v>44377</c:v>
                </c:pt>
                <c:pt idx="42">
                  <c:v>44378</c:v>
                </c:pt>
                <c:pt idx="43">
                  <c:v>44379</c:v>
                </c:pt>
                <c:pt idx="44">
                  <c:v>44380</c:v>
                </c:pt>
                <c:pt idx="45">
                  <c:v>44381</c:v>
                </c:pt>
                <c:pt idx="46">
                  <c:v>44382</c:v>
                </c:pt>
                <c:pt idx="47">
                  <c:v>44383</c:v>
                </c:pt>
                <c:pt idx="48">
                  <c:v>44384</c:v>
                </c:pt>
                <c:pt idx="49">
                  <c:v>44385</c:v>
                </c:pt>
                <c:pt idx="50">
                  <c:v>44386</c:v>
                </c:pt>
                <c:pt idx="51">
                  <c:v>44387</c:v>
                </c:pt>
                <c:pt idx="52">
                  <c:v>44388</c:v>
                </c:pt>
                <c:pt idx="53">
                  <c:v>44389</c:v>
                </c:pt>
                <c:pt idx="54">
                  <c:v>44390</c:v>
                </c:pt>
                <c:pt idx="55">
                  <c:v>44391</c:v>
                </c:pt>
                <c:pt idx="56">
                  <c:v>44392</c:v>
                </c:pt>
                <c:pt idx="57">
                  <c:v>44393</c:v>
                </c:pt>
                <c:pt idx="58">
                  <c:v>44394</c:v>
                </c:pt>
                <c:pt idx="59">
                  <c:v>44395</c:v>
                </c:pt>
                <c:pt idx="60">
                  <c:v>44396</c:v>
                </c:pt>
                <c:pt idx="61">
                  <c:v>44397</c:v>
                </c:pt>
                <c:pt idx="62">
                  <c:v>44398</c:v>
                </c:pt>
                <c:pt idx="63">
                  <c:v>44399</c:v>
                </c:pt>
                <c:pt idx="64">
                  <c:v>44400</c:v>
                </c:pt>
                <c:pt idx="65">
                  <c:v>44401</c:v>
                </c:pt>
                <c:pt idx="66">
                  <c:v>44402</c:v>
                </c:pt>
                <c:pt idx="67">
                  <c:v>44403</c:v>
                </c:pt>
                <c:pt idx="68">
                  <c:v>44404</c:v>
                </c:pt>
                <c:pt idx="69">
                  <c:v>44405</c:v>
                </c:pt>
                <c:pt idx="70">
                  <c:v>44406</c:v>
                </c:pt>
                <c:pt idx="71">
                  <c:v>44407</c:v>
                </c:pt>
                <c:pt idx="72">
                  <c:v>44408</c:v>
                </c:pt>
                <c:pt idx="73">
                  <c:v>44409</c:v>
                </c:pt>
                <c:pt idx="74">
                  <c:v>44410</c:v>
                </c:pt>
                <c:pt idx="75">
                  <c:v>44411</c:v>
                </c:pt>
                <c:pt idx="76">
                  <c:v>44412</c:v>
                </c:pt>
                <c:pt idx="77">
                  <c:v>44413</c:v>
                </c:pt>
                <c:pt idx="78">
                  <c:v>44414</c:v>
                </c:pt>
                <c:pt idx="79">
                  <c:v>44415</c:v>
                </c:pt>
                <c:pt idx="80">
                  <c:v>44416</c:v>
                </c:pt>
                <c:pt idx="81">
                  <c:v>44417</c:v>
                </c:pt>
                <c:pt idx="82">
                  <c:v>44418</c:v>
                </c:pt>
                <c:pt idx="83">
                  <c:v>44419</c:v>
                </c:pt>
                <c:pt idx="84">
                  <c:v>44420</c:v>
                </c:pt>
                <c:pt idx="85">
                  <c:v>44421</c:v>
                </c:pt>
                <c:pt idx="86">
                  <c:v>44422</c:v>
                </c:pt>
                <c:pt idx="87">
                  <c:v>44423</c:v>
                </c:pt>
                <c:pt idx="88">
                  <c:v>44424</c:v>
                </c:pt>
                <c:pt idx="89">
                  <c:v>44425</c:v>
                </c:pt>
                <c:pt idx="90">
                  <c:v>44426</c:v>
                </c:pt>
                <c:pt idx="91">
                  <c:v>44427</c:v>
                </c:pt>
                <c:pt idx="92">
                  <c:v>44428</c:v>
                </c:pt>
                <c:pt idx="93">
                  <c:v>44429</c:v>
                </c:pt>
                <c:pt idx="94">
                  <c:v>44430</c:v>
                </c:pt>
                <c:pt idx="95">
                  <c:v>44431</c:v>
                </c:pt>
                <c:pt idx="96">
                  <c:v>44432</c:v>
                </c:pt>
                <c:pt idx="97">
                  <c:v>44433</c:v>
                </c:pt>
                <c:pt idx="98">
                  <c:v>44434</c:v>
                </c:pt>
                <c:pt idx="99">
                  <c:v>44435</c:v>
                </c:pt>
                <c:pt idx="100">
                  <c:v>44436</c:v>
                </c:pt>
                <c:pt idx="101">
                  <c:v>44437</c:v>
                </c:pt>
                <c:pt idx="102">
                  <c:v>44438</c:v>
                </c:pt>
                <c:pt idx="103">
                  <c:v>44439</c:v>
                </c:pt>
                <c:pt idx="104">
                  <c:v>44440</c:v>
                </c:pt>
                <c:pt idx="105">
                  <c:v>44441</c:v>
                </c:pt>
                <c:pt idx="106">
                  <c:v>44442</c:v>
                </c:pt>
                <c:pt idx="107">
                  <c:v>44443</c:v>
                </c:pt>
                <c:pt idx="108">
                  <c:v>44444</c:v>
                </c:pt>
                <c:pt idx="109">
                  <c:v>44445</c:v>
                </c:pt>
                <c:pt idx="110">
                  <c:v>44446</c:v>
                </c:pt>
                <c:pt idx="111">
                  <c:v>44447</c:v>
                </c:pt>
                <c:pt idx="112">
                  <c:v>44448</c:v>
                </c:pt>
                <c:pt idx="113">
                  <c:v>44449</c:v>
                </c:pt>
                <c:pt idx="114">
                  <c:v>44450</c:v>
                </c:pt>
                <c:pt idx="115">
                  <c:v>44451</c:v>
                </c:pt>
                <c:pt idx="116">
                  <c:v>44452</c:v>
                </c:pt>
                <c:pt idx="117">
                  <c:v>44453</c:v>
                </c:pt>
                <c:pt idx="118">
                  <c:v>44454</c:v>
                </c:pt>
                <c:pt idx="119">
                  <c:v>44455</c:v>
                </c:pt>
                <c:pt idx="120">
                  <c:v>44456</c:v>
                </c:pt>
                <c:pt idx="121">
                  <c:v>44457</c:v>
                </c:pt>
                <c:pt idx="122">
                  <c:v>44458</c:v>
                </c:pt>
                <c:pt idx="123">
                  <c:v>44459</c:v>
                </c:pt>
                <c:pt idx="124">
                  <c:v>44460</c:v>
                </c:pt>
                <c:pt idx="125">
                  <c:v>44461</c:v>
                </c:pt>
                <c:pt idx="126">
                  <c:v>44462</c:v>
                </c:pt>
                <c:pt idx="127">
                  <c:v>44463</c:v>
                </c:pt>
                <c:pt idx="128">
                  <c:v>44464</c:v>
                </c:pt>
                <c:pt idx="129">
                  <c:v>44465</c:v>
                </c:pt>
                <c:pt idx="130">
                  <c:v>44466</c:v>
                </c:pt>
                <c:pt idx="131">
                  <c:v>44467</c:v>
                </c:pt>
                <c:pt idx="132">
                  <c:v>44468</c:v>
                </c:pt>
                <c:pt idx="133">
                  <c:v>44469</c:v>
                </c:pt>
                <c:pt idx="134">
                  <c:v>44470</c:v>
                </c:pt>
                <c:pt idx="135">
                  <c:v>44471</c:v>
                </c:pt>
                <c:pt idx="136">
                  <c:v>44472</c:v>
                </c:pt>
                <c:pt idx="137">
                  <c:v>44473</c:v>
                </c:pt>
                <c:pt idx="138">
                  <c:v>44474</c:v>
                </c:pt>
                <c:pt idx="139">
                  <c:v>44475</c:v>
                </c:pt>
                <c:pt idx="140">
                  <c:v>44476</c:v>
                </c:pt>
                <c:pt idx="141">
                  <c:v>44477</c:v>
                </c:pt>
                <c:pt idx="142">
                  <c:v>44478</c:v>
                </c:pt>
                <c:pt idx="143">
                  <c:v>44479</c:v>
                </c:pt>
                <c:pt idx="144">
                  <c:v>44480</c:v>
                </c:pt>
                <c:pt idx="145">
                  <c:v>44481</c:v>
                </c:pt>
                <c:pt idx="146">
                  <c:v>44482</c:v>
                </c:pt>
                <c:pt idx="147">
                  <c:v>44483</c:v>
                </c:pt>
                <c:pt idx="148">
                  <c:v>44484</c:v>
                </c:pt>
                <c:pt idx="149">
                  <c:v>44485</c:v>
                </c:pt>
                <c:pt idx="150">
                  <c:v>44486</c:v>
                </c:pt>
                <c:pt idx="151">
                  <c:v>44487</c:v>
                </c:pt>
                <c:pt idx="152">
                  <c:v>44488</c:v>
                </c:pt>
                <c:pt idx="153">
                  <c:v>44489</c:v>
                </c:pt>
                <c:pt idx="154">
                  <c:v>44490</c:v>
                </c:pt>
                <c:pt idx="155">
                  <c:v>44491</c:v>
                </c:pt>
                <c:pt idx="156">
                  <c:v>44492</c:v>
                </c:pt>
                <c:pt idx="157">
                  <c:v>44493</c:v>
                </c:pt>
                <c:pt idx="158">
                  <c:v>44494</c:v>
                </c:pt>
                <c:pt idx="159">
                  <c:v>44495</c:v>
                </c:pt>
                <c:pt idx="160">
                  <c:v>44496</c:v>
                </c:pt>
                <c:pt idx="161">
                  <c:v>44497</c:v>
                </c:pt>
                <c:pt idx="162">
                  <c:v>44498</c:v>
                </c:pt>
                <c:pt idx="163">
                  <c:v>44499</c:v>
                </c:pt>
                <c:pt idx="164">
                  <c:v>44500</c:v>
                </c:pt>
                <c:pt idx="165">
                  <c:v>44501</c:v>
                </c:pt>
                <c:pt idx="166">
                  <c:v>44502</c:v>
                </c:pt>
                <c:pt idx="167">
                  <c:v>44503</c:v>
                </c:pt>
                <c:pt idx="168">
                  <c:v>44504</c:v>
                </c:pt>
                <c:pt idx="169">
                  <c:v>44505</c:v>
                </c:pt>
                <c:pt idx="170">
                  <c:v>44506</c:v>
                </c:pt>
                <c:pt idx="171">
                  <c:v>44507</c:v>
                </c:pt>
                <c:pt idx="172">
                  <c:v>44508</c:v>
                </c:pt>
                <c:pt idx="173">
                  <c:v>44509</c:v>
                </c:pt>
                <c:pt idx="174">
                  <c:v>44510</c:v>
                </c:pt>
                <c:pt idx="175">
                  <c:v>44511</c:v>
                </c:pt>
                <c:pt idx="176">
                  <c:v>44512</c:v>
                </c:pt>
                <c:pt idx="177">
                  <c:v>44513</c:v>
                </c:pt>
                <c:pt idx="178">
                  <c:v>44514</c:v>
                </c:pt>
                <c:pt idx="179">
                  <c:v>44515</c:v>
                </c:pt>
                <c:pt idx="180">
                  <c:v>44516</c:v>
                </c:pt>
                <c:pt idx="181">
                  <c:v>44517</c:v>
                </c:pt>
                <c:pt idx="182">
                  <c:v>44518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3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</c:v>
                </c:pt>
                <c:pt idx="69">
                  <c:v>2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1</c:v>
                </c:pt>
                <c:pt idx="81">
                  <c:v>0</c:v>
                </c:pt>
                <c:pt idx="82">
                  <c:v>0</c:v>
                </c:pt>
                <c:pt idx="83">
                  <c:v>1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1</c:v>
                </c:pt>
                <c:pt idx="96">
                  <c:v>0</c:v>
                </c:pt>
                <c:pt idx="97">
                  <c:v>0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2</c:v>
                </c:pt>
                <c:pt idx="105">
                  <c:v>1</c:v>
                </c:pt>
                <c:pt idx="106">
                  <c:v>1</c:v>
                </c:pt>
                <c:pt idx="107">
                  <c:v>0</c:v>
                </c:pt>
                <c:pt idx="108">
                  <c:v>0</c:v>
                </c:pt>
                <c:pt idx="109">
                  <c:v>1</c:v>
                </c:pt>
                <c:pt idx="110">
                  <c:v>2</c:v>
                </c:pt>
                <c:pt idx="111">
                  <c:v>1</c:v>
                </c:pt>
                <c:pt idx="112">
                  <c:v>1</c:v>
                </c:pt>
                <c:pt idx="113">
                  <c:v>0</c:v>
                </c:pt>
                <c:pt idx="114">
                  <c:v>0</c:v>
                </c:pt>
                <c:pt idx="115">
                  <c:v>1</c:v>
                </c:pt>
                <c:pt idx="116">
                  <c:v>0</c:v>
                </c:pt>
                <c:pt idx="117">
                  <c:v>1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1</c:v>
                </c:pt>
                <c:pt idx="122">
                  <c:v>0</c:v>
                </c:pt>
                <c:pt idx="123">
                  <c:v>4</c:v>
                </c:pt>
                <c:pt idx="124">
                  <c:v>3</c:v>
                </c:pt>
                <c:pt idx="125">
                  <c:v>2</c:v>
                </c:pt>
                <c:pt idx="126">
                  <c:v>0</c:v>
                </c:pt>
                <c:pt idx="127">
                  <c:v>0</c:v>
                </c:pt>
                <c:pt idx="128">
                  <c:v>1</c:v>
                </c:pt>
                <c:pt idx="129">
                  <c:v>0</c:v>
                </c:pt>
                <c:pt idx="130">
                  <c:v>5</c:v>
                </c:pt>
                <c:pt idx="131">
                  <c:v>2</c:v>
                </c:pt>
                <c:pt idx="132">
                  <c:v>7</c:v>
                </c:pt>
                <c:pt idx="133">
                  <c:v>3</c:v>
                </c:pt>
                <c:pt idx="134">
                  <c:v>2</c:v>
                </c:pt>
                <c:pt idx="135">
                  <c:v>0</c:v>
                </c:pt>
                <c:pt idx="136">
                  <c:v>0</c:v>
                </c:pt>
                <c:pt idx="137">
                  <c:v>3</c:v>
                </c:pt>
                <c:pt idx="138">
                  <c:v>5</c:v>
                </c:pt>
                <c:pt idx="139">
                  <c:v>2</c:v>
                </c:pt>
                <c:pt idx="140">
                  <c:v>1</c:v>
                </c:pt>
                <c:pt idx="141">
                  <c:v>2</c:v>
                </c:pt>
                <c:pt idx="142">
                  <c:v>1</c:v>
                </c:pt>
                <c:pt idx="143">
                  <c:v>0</c:v>
                </c:pt>
                <c:pt idx="144">
                  <c:v>2</c:v>
                </c:pt>
                <c:pt idx="145">
                  <c:v>3</c:v>
                </c:pt>
                <c:pt idx="146">
                  <c:v>1</c:v>
                </c:pt>
                <c:pt idx="147">
                  <c:v>3</c:v>
                </c:pt>
                <c:pt idx="148">
                  <c:v>6</c:v>
                </c:pt>
                <c:pt idx="149">
                  <c:v>2</c:v>
                </c:pt>
                <c:pt idx="150">
                  <c:v>1</c:v>
                </c:pt>
                <c:pt idx="151">
                  <c:v>12</c:v>
                </c:pt>
                <c:pt idx="152">
                  <c:v>7</c:v>
                </c:pt>
                <c:pt idx="153">
                  <c:v>9</c:v>
                </c:pt>
                <c:pt idx="154">
                  <c:v>7</c:v>
                </c:pt>
                <c:pt idx="155">
                  <c:v>10</c:v>
                </c:pt>
                <c:pt idx="156">
                  <c:v>0</c:v>
                </c:pt>
                <c:pt idx="157">
                  <c:v>3</c:v>
                </c:pt>
                <c:pt idx="158">
                  <c:v>16</c:v>
                </c:pt>
                <c:pt idx="159">
                  <c:v>5</c:v>
                </c:pt>
                <c:pt idx="160" formatCode="General">
                  <c:v>14</c:v>
                </c:pt>
                <c:pt idx="161" formatCode="General">
                  <c:v>3</c:v>
                </c:pt>
                <c:pt idx="162" formatCode="General">
                  <c:v>8</c:v>
                </c:pt>
                <c:pt idx="163" formatCode="General">
                  <c:v>4</c:v>
                </c:pt>
                <c:pt idx="164" formatCode="General">
                  <c:v>4</c:v>
                </c:pt>
                <c:pt idx="165" formatCode="General">
                  <c:v>35</c:v>
                </c:pt>
                <c:pt idx="166" formatCode="General">
                  <c:v>25</c:v>
                </c:pt>
                <c:pt idx="167" formatCode="General">
                  <c:v>19</c:v>
                </c:pt>
                <c:pt idx="168" formatCode="General">
                  <c:v>26</c:v>
                </c:pt>
                <c:pt idx="169" formatCode="General">
                  <c:v>22</c:v>
                </c:pt>
                <c:pt idx="170" formatCode="General">
                  <c:v>16</c:v>
                </c:pt>
                <c:pt idx="171" formatCode="General">
                  <c:v>4</c:v>
                </c:pt>
                <c:pt idx="172" formatCode="General">
                  <c:v>34</c:v>
                </c:pt>
                <c:pt idx="173" formatCode="General">
                  <c:v>32</c:v>
                </c:pt>
                <c:pt idx="174" formatCode="General">
                  <c:v>35</c:v>
                </c:pt>
                <c:pt idx="175" formatCode="General">
                  <c:v>41</c:v>
                </c:pt>
                <c:pt idx="176" formatCode="General">
                  <c:v>33</c:v>
                </c:pt>
                <c:pt idx="177" formatCode="General">
                  <c:v>21</c:v>
                </c:pt>
                <c:pt idx="178" formatCode="General">
                  <c:v>14</c:v>
                </c:pt>
                <c:pt idx="179" formatCode="General">
                  <c:v>39</c:v>
                </c:pt>
                <c:pt idx="180" formatCode="General">
                  <c:v>45</c:v>
                </c:pt>
                <c:pt idx="181" formatCode="General">
                  <c:v>13</c:v>
                </c:pt>
                <c:pt idx="182" formatCode="General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Z$1</c:f>
              <c:strCache>
                <c:ptCount val="12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</c:strCache>
            </c:strRef>
          </c:cat>
          <c:val>
            <c:numRef>
              <c:f>List1!$O$2:$Z$2</c:f>
              <c:numCache>
                <c:formatCode>General</c:formatCode>
                <c:ptCount val="12"/>
                <c:pt idx="0">
                  <c:v>0.4874482</c:v>
                </c:pt>
                <c:pt idx="1">
                  <c:v>0.69635449999999999</c:v>
                </c:pt>
                <c:pt idx="2">
                  <c:v>1.2534381999999999</c:v>
                </c:pt>
                <c:pt idx="3">
                  <c:v>2.6461473999999998</c:v>
                </c:pt>
                <c:pt idx="4">
                  <c:v>8.4955259000000005</c:v>
                </c:pt>
                <c:pt idx="5">
                  <c:v>48.3270081</c:v>
                </c:pt>
                <c:pt idx="6">
                  <c:v>103.47829110000001</c:v>
                </c:pt>
                <c:pt idx="7">
                  <c:v>165.8716618</c:v>
                </c:pt>
                <c:pt idx="8">
                  <c:v>242.8884788</c:v>
                </c:pt>
                <c:pt idx="9">
                  <c:v>271.02120389999999</c:v>
                </c:pt>
                <c:pt idx="10">
                  <c:v>186.4837575</c:v>
                </c:pt>
                <c:pt idx="11">
                  <c:v>127.7114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609-4D55-AD38-109C0C8C5BC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Z$1</c:f>
              <c:strCache>
                <c:ptCount val="12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</c:strCache>
            </c:strRef>
          </c:cat>
          <c:val>
            <c:numRef>
              <c:f>List1!$O$3:$Z$3</c:f>
              <c:numCache>
                <c:formatCode>General</c:formatCode>
                <c:ptCount val="12"/>
                <c:pt idx="0">
                  <c:v>0.69635449999999999</c:v>
                </c:pt>
                <c:pt idx="1">
                  <c:v>0.83562550000000002</c:v>
                </c:pt>
                <c:pt idx="2">
                  <c:v>0.27854180000000001</c:v>
                </c:pt>
                <c:pt idx="3">
                  <c:v>1.3927091</c:v>
                </c:pt>
                <c:pt idx="4">
                  <c:v>2.5068765000000002</c:v>
                </c:pt>
                <c:pt idx="5">
                  <c:v>1.8105218999999999</c:v>
                </c:pt>
                <c:pt idx="6">
                  <c:v>1.671251</c:v>
                </c:pt>
                <c:pt idx="7">
                  <c:v>6.1279203000000004</c:v>
                </c:pt>
                <c:pt idx="8">
                  <c:v>7.1028167</c:v>
                </c:pt>
                <c:pt idx="9">
                  <c:v>16.851780900000001</c:v>
                </c:pt>
                <c:pt idx="10">
                  <c:v>25.625848600000001</c:v>
                </c:pt>
                <c:pt idx="11">
                  <c:v>26.3222032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609-4D55-AD38-109C0C8C5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Kraj Vysočina</c:v>
                </c:pt>
                <c:pt idx="3">
                  <c:v>Středočeský kraj</c:v>
                </c:pt>
                <c:pt idx="4">
                  <c:v>Liberecký kraj</c:v>
                </c:pt>
                <c:pt idx="5">
                  <c:v>Hlavní město Praha</c:v>
                </c:pt>
                <c:pt idx="6">
                  <c:v>Ústecký kraj</c:v>
                </c:pt>
                <c:pt idx="7">
                  <c:v>Pardubický kraj</c:v>
                </c:pt>
                <c:pt idx="8">
                  <c:v>Jihočeský kraj</c:v>
                </c:pt>
                <c:pt idx="9">
                  <c:v>ČR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2.861009999999993</c:v>
                </c:pt>
                <c:pt idx="1">
                  <c:v>89.503039999999999</c:v>
                </c:pt>
                <c:pt idx="2">
                  <c:v>89.453720000000004</c:v>
                </c:pt>
                <c:pt idx="3">
                  <c:v>88.981290000000001</c:v>
                </c:pt>
                <c:pt idx="4">
                  <c:v>88.792420000000007</c:v>
                </c:pt>
                <c:pt idx="5">
                  <c:v>88.390649999999994</c:v>
                </c:pt>
                <c:pt idx="6">
                  <c:v>88.342969999999994</c:v>
                </c:pt>
                <c:pt idx="7">
                  <c:v>88.182500000000005</c:v>
                </c:pt>
                <c:pt idx="8">
                  <c:v>88.109160000000003</c:v>
                </c:pt>
                <c:pt idx="9">
                  <c:v>87.01885</c:v>
                </c:pt>
                <c:pt idx="10">
                  <c:v>86.556929999999994</c:v>
                </c:pt>
                <c:pt idx="11">
                  <c:v>84.209329999999994</c:v>
                </c:pt>
                <c:pt idx="12">
                  <c:v>83.687939999999998</c:v>
                </c:pt>
                <c:pt idx="13">
                  <c:v>83.441980000000001</c:v>
                </c:pt>
                <c:pt idx="14">
                  <c:v>82.7349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Hlavní město Praha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6.159710000000004</c:v>
                </c:pt>
                <c:pt idx="1">
                  <c:v>86.158590000000004</c:v>
                </c:pt>
                <c:pt idx="2">
                  <c:v>85.223609999999994</c:v>
                </c:pt>
                <c:pt idx="3">
                  <c:v>85.12021</c:v>
                </c:pt>
                <c:pt idx="4">
                  <c:v>84.386240000000001</c:v>
                </c:pt>
                <c:pt idx="5">
                  <c:v>83.834490000000002</c:v>
                </c:pt>
                <c:pt idx="6">
                  <c:v>82.324290000000005</c:v>
                </c:pt>
                <c:pt idx="7">
                  <c:v>81.746660000000006</c:v>
                </c:pt>
                <c:pt idx="8">
                  <c:v>81.356780000000001</c:v>
                </c:pt>
                <c:pt idx="9">
                  <c:v>80.787120000000002</c:v>
                </c:pt>
                <c:pt idx="10">
                  <c:v>79.976990000000001</c:v>
                </c:pt>
                <c:pt idx="11">
                  <c:v>78.059380000000004</c:v>
                </c:pt>
                <c:pt idx="12">
                  <c:v>76.070920000000001</c:v>
                </c:pt>
                <c:pt idx="13">
                  <c:v>75.515619999999998</c:v>
                </c:pt>
                <c:pt idx="14">
                  <c:v>73.948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6</c:f>
              <c:strCache>
                <c:ptCount val="35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26 Odborný pracovník v laboratorních metodách a v přípravě léčivých přípravků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22 Psycholog ve zdravotnictví</c:v>
                </c:pt>
                <c:pt idx="15">
                  <c:v>§ 37 Masér ve zdravotnictví, nevidomý a slabozraký masér ve zdravotnictví</c:v>
                </c:pt>
                <c:pt idx="16">
                  <c:v>§ 11 Optometrista</c:v>
                </c:pt>
                <c:pt idx="17">
                  <c:v>§ 15 Nutriční terapeut</c:v>
                </c:pt>
                <c:pt idx="18">
                  <c:v>§ 10 Zdravotně-sociální pracovník</c:v>
                </c:pt>
                <c:pt idx="19">
                  <c:v>§ 7 Ergoterapeut</c:v>
                </c:pt>
                <c:pt idx="20">
                  <c:v>§ 30 Laboratorní asistent</c:v>
                </c:pt>
                <c:pt idx="21">
                  <c:v>§ 23 Logoped ve zdravotnictví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25 Radiologický fyz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2820</c:v>
                </c:pt>
                <c:pt idx="1">
                  <c:v>1201</c:v>
                </c:pt>
                <c:pt idx="2">
                  <c:v>1010</c:v>
                </c:pt>
                <c:pt idx="3">
                  <c:v>878</c:v>
                </c:pt>
                <c:pt idx="4">
                  <c:v>833</c:v>
                </c:pt>
                <c:pt idx="5">
                  <c:v>644</c:v>
                </c:pt>
                <c:pt idx="6">
                  <c:v>471</c:v>
                </c:pt>
                <c:pt idx="7">
                  <c:v>445</c:v>
                </c:pt>
                <c:pt idx="8">
                  <c:v>374</c:v>
                </c:pt>
                <c:pt idx="9">
                  <c:v>332</c:v>
                </c:pt>
                <c:pt idx="10">
                  <c:v>331</c:v>
                </c:pt>
                <c:pt idx="11">
                  <c:v>269</c:v>
                </c:pt>
                <c:pt idx="12">
                  <c:v>215</c:v>
                </c:pt>
                <c:pt idx="13">
                  <c:v>158</c:v>
                </c:pt>
                <c:pt idx="14">
                  <c:v>152</c:v>
                </c:pt>
                <c:pt idx="15">
                  <c:v>137</c:v>
                </c:pt>
                <c:pt idx="16">
                  <c:v>109</c:v>
                </c:pt>
                <c:pt idx="17">
                  <c:v>108</c:v>
                </c:pt>
                <c:pt idx="18">
                  <c:v>103</c:v>
                </c:pt>
                <c:pt idx="19">
                  <c:v>89</c:v>
                </c:pt>
                <c:pt idx="20">
                  <c:v>86</c:v>
                </c:pt>
                <c:pt idx="21">
                  <c:v>77</c:v>
                </c:pt>
                <c:pt idx="22">
                  <c:v>46</c:v>
                </c:pt>
                <c:pt idx="23">
                  <c:v>37</c:v>
                </c:pt>
                <c:pt idx="24">
                  <c:v>26</c:v>
                </c:pt>
                <c:pt idx="25">
                  <c:v>25</c:v>
                </c:pt>
                <c:pt idx="26">
                  <c:v>17</c:v>
                </c:pt>
                <c:pt idx="27">
                  <c:v>16</c:v>
                </c:pt>
                <c:pt idx="28">
                  <c:v>13</c:v>
                </c:pt>
                <c:pt idx="29">
                  <c:v>10</c:v>
                </c:pt>
                <c:pt idx="30">
                  <c:v>7</c:v>
                </c:pt>
                <c:pt idx="31">
                  <c:v>7</c:v>
                </c:pt>
                <c:pt idx="32">
                  <c:v>5</c:v>
                </c:pt>
                <c:pt idx="33">
                  <c:v>2</c:v>
                </c:pt>
                <c:pt idx="3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3</c:f>
              <c:strCache>
                <c:ptCount val="32"/>
                <c:pt idx="0">
                  <c:v>§ 42 Sanitář</c:v>
                </c:pt>
                <c:pt idx="1">
                  <c:v>§ 24 Fyzioterapeut</c:v>
                </c:pt>
                <c:pt idx="2">
                  <c:v>§ 9 Zdravotní laborant</c:v>
                </c:pt>
                <c:pt idx="3">
                  <c:v>farmaceu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26 Odborný pracovník v laboratorních metodách a v přípravě léčivých přípravků</c:v>
                </c:pt>
                <c:pt idx="7">
                  <c:v>§ 39 Zubní instrumentářka</c:v>
                </c:pt>
                <c:pt idx="8">
                  <c:v>§ 18 Zdravotnický záchranář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35 Řidič vozidla zdravotnické záchranné služby</c:v>
                </c:pt>
                <c:pt idx="14">
                  <c:v>§ 17 Dentální hygienistka</c:v>
                </c:pt>
                <c:pt idx="15">
                  <c:v>§ 11 Optometrista</c:v>
                </c:pt>
                <c:pt idx="16">
                  <c:v>§ 15 Nutriční terapeut</c:v>
                </c:pt>
                <c:pt idx="17">
                  <c:v>§ 10 Zdravotně-sociální pracovník</c:v>
                </c:pt>
                <c:pt idx="18">
                  <c:v>§ 23 Logoped ve zdravotnictví</c:v>
                </c:pt>
                <c:pt idx="19">
                  <c:v>§ 30 Laboratorní asistent</c:v>
                </c:pt>
                <c:pt idx="20">
                  <c:v>§ 37 Masér ve zdravotnictví, nevidomý a slabozraký masér ve zdravotnictví</c:v>
                </c:pt>
                <c:pt idx="21">
                  <c:v>§ 7 Ergoterapeut</c:v>
                </c:pt>
                <c:pt idx="22">
                  <c:v>§ 33 Asistent zubního technika</c:v>
                </c:pt>
                <c:pt idx="23">
                  <c:v>§ 27 Biomedicínský inženýr</c:v>
                </c:pt>
                <c:pt idx="24">
                  <c:v>§ 21a Adiktolog</c:v>
                </c:pt>
                <c:pt idx="25">
                  <c:v>§ 25 Radiologický fyzik</c:v>
                </c:pt>
                <c:pt idx="26">
                  <c:v>§ 28 Odborný pracovník v ochraně a podpoře veřejného zdraví</c:v>
                </c:pt>
                <c:pt idx="27">
                  <c:v>§ 13 Asistent ochrany a podpory veřejného zdraví</c:v>
                </c:pt>
                <c:pt idx="28">
                  <c:v>§ 14 Ortotik-protetik</c:v>
                </c:pt>
                <c:pt idx="29">
                  <c:v>§ 12 Ortoptista</c:v>
                </c:pt>
                <c:pt idx="30">
                  <c:v>§ 20 Biomedicínský technik</c:v>
                </c:pt>
                <c:pt idx="31">
                  <c:v>§ 41 Autoptický laborant</c:v>
                </c:pt>
              </c:strCache>
            </c:strRef>
          </c:cat>
          <c:val>
            <c:numRef>
              <c:f>List1!$B$2:$B$33</c:f>
              <c:numCache>
                <c:formatCode>General</c:formatCode>
                <c:ptCount val="32"/>
                <c:pt idx="0">
                  <c:v>480</c:v>
                </c:pt>
                <c:pt idx="1">
                  <c:v>279</c:v>
                </c:pt>
                <c:pt idx="2">
                  <c:v>247</c:v>
                </c:pt>
                <c:pt idx="3">
                  <c:v>243</c:v>
                </c:pt>
                <c:pt idx="4">
                  <c:v>173</c:v>
                </c:pt>
                <c:pt idx="5">
                  <c:v>113</c:v>
                </c:pt>
                <c:pt idx="6">
                  <c:v>104</c:v>
                </c:pt>
                <c:pt idx="7">
                  <c:v>98</c:v>
                </c:pt>
                <c:pt idx="8">
                  <c:v>97</c:v>
                </c:pt>
                <c:pt idx="9">
                  <c:v>81</c:v>
                </c:pt>
                <c:pt idx="10">
                  <c:v>71</c:v>
                </c:pt>
                <c:pt idx="11">
                  <c:v>48</c:v>
                </c:pt>
                <c:pt idx="12">
                  <c:v>43</c:v>
                </c:pt>
                <c:pt idx="13">
                  <c:v>36</c:v>
                </c:pt>
                <c:pt idx="14">
                  <c:v>29</c:v>
                </c:pt>
                <c:pt idx="15">
                  <c:v>28</c:v>
                </c:pt>
                <c:pt idx="16">
                  <c:v>26</c:v>
                </c:pt>
                <c:pt idx="17">
                  <c:v>23</c:v>
                </c:pt>
                <c:pt idx="18">
                  <c:v>23</c:v>
                </c:pt>
                <c:pt idx="19">
                  <c:v>21</c:v>
                </c:pt>
                <c:pt idx="20">
                  <c:v>21</c:v>
                </c:pt>
                <c:pt idx="21">
                  <c:v>17</c:v>
                </c:pt>
                <c:pt idx="22">
                  <c:v>14</c:v>
                </c:pt>
                <c:pt idx="23">
                  <c:v>11</c:v>
                </c:pt>
                <c:pt idx="24">
                  <c:v>9</c:v>
                </c:pt>
                <c:pt idx="25">
                  <c:v>7</c:v>
                </c:pt>
                <c:pt idx="26">
                  <c:v>6</c:v>
                </c:pt>
                <c:pt idx="27">
                  <c:v>5</c:v>
                </c:pt>
                <c:pt idx="28">
                  <c:v>4</c:v>
                </c:pt>
                <c:pt idx="29">
                  <c:v>3</c:v>
                </c:pt>
                <c:pt idx="30">
                  <c:v>2</c:v>
                </c:pt>
                <c:pt idx="3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564406152739097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0.05.21</c:v>
                </c:pt>
                <c:pt idx="1">
                  <c:v>21.05.21</c:v>
                </c:pt>
                <c:pt idx="2">
                  <c:v>22.05.21</c:v>
                </c:pt>
                <c:pt idx="3">
                  <c:v>23.05.21</c:v>
                </c:pt>
                <c:pt idx="4">
                  <c:v>24.05.21</c:v>
                </c:pt>
                <c:pt idx="5">
                  <c:v>25.05.21</c:v>
                </c:pt>
                <c:pt idx="6">
                  <c:v>26.05.21</c:v>
                </c:pt>
                <c:pt idx="7">
                  <c:v>27.05.21</c:v>
                </c:pt>
                <c:pt idx="8">
                  <c:v>28.05.21</c:v>
                </c:pt>
                <c:pt idx="9">
                  <c:v>29.05.21</c:v>
                </c:pt>
                <c:pt idx="10">
                  <c:v>30.05.21</c:v>
                </c:pt>
                <c:pt idx="11">
                  <c:v>31.05.21</c:v>
                </c:pt>
                <c:pt idx="12">
                  <c:v>01.06.21</c:v>
                </c:pt>
                <c:pt idx="13">
                  <c:v>02.06.21</c:v>
                </c:pt>
                <c:pt idx="14">
                  <c:v>03.06.21</c:v>
                </c:pt>
                <c:pt idx="15">
                  <c:v>04.06.21</c:v>
                </c:pt>
                <c:pt idx="16">
                  <c:v>05.06.21</c:v>
                </c:pt>
                <c:pt idx="17">
                  <c:v>06.06.21</c:v>
                </c:pt>
                <c:pt idx="18">
                  <c:v>07.06.21</c:v>
                </c:pt>
                <c:pt idx="19">
                  <c:v>08.06.21</c:v>
                </c:pt>
                <c:pt idx="20">
                  <c:v>09.06.21</c:v>
                </c:pt>
                <c:pt idx="21">
                  <c:v>10.06.21</c:v>
                </c:pt>
                <c:pt idx="22">
                  <c:v>11.06.21</c:v>
                </c:pt>
                <c:pt idx="23">
                  <c:v>12.06.21</c:v>
                </c:pt>
                <c:pt idx="24">
                  <c:v>13.06.21</c:v>
                </c:pt>
                <c:pt idx="25">
                  <c:v>14.06.21</c:v>
                </c:pt>
                <c:pt idx="26">
                  <c:v>15.06.21</c:v>
                </c:pt>
                <c:pt idx="27">
                  <c:v>16.06.21</c:v>
                </c:pt>
                <c:pt idx="28">
                  <c:v>17.06.21</c:v>
                </c:pt>
                <c:pt idx="29">
                  <c:v>18.06.21</c:v>
                </c:pt>
                <c:pt idx="30">
                  <c:v>19.06.21</c:v>
                </c:pt>
                <c:pt idx="31">
                  <c:v>20.06.21</c:v>
                </c:pt>
                <c:pt idx="32">
                  <c:v>21.06.21</c:v>
                </c:pt>
                <c:pt idx="33">
                  <c:v>22.06.21</c:v>
                </c:pt>
                <c:pt idx="34">
                  <c:v>23.06.21</c:v>
                </c:pt>
                <c:pt idx="35">
                  <c:v>24.06.21</c:v>
                </c:pt>
                <c:pt idx="36">
                  <c:v>25.06.21</c:v>
                </c:pt>
                <c:pt idx="37">
                  <c:v>26.06.21</c:v>
                </c:pt>
                <c:pt idx="38">
                  <c:v>27.06.21</c:v>
                </c:pt>
                <c:pt idx="39">
                  <c:v>28.06.21</c:v>
                </c:pt>
                <c:pt idx="40">
                  <c:v>29.06.21</c:v>
                </c:pt>
                <c:pt idx="41">
                  <c:v>30.06.21</c:v>
                </c:pt>
                <c:pt idx="42">
                  <c:v>01.07.21</c:v>
                </c:pt>
                <c:pt idx="43">
                  <c:v>02.07.21</c:v>
                </c:pt>
                <c:pt idx="44">
                  <c:v>03.07.21</c:v>
                </c:pt>
                <c:pt idx="45">
                  <c:v>04.07.21</c:v>
                </c:pt>
                <c:pt idx="46">
                  <c:v>05.07.21</c:v>
                </c:pt>
                <c:pt idx="47">
                  <c:v>06.07.21</c:v>
                </c:pt>
                <c:pt idx="48">
                  <c:v>07.07.21</c:v>
                </c:pt>
                <c:pt idx="49">
                  <c:v>08.07.21</c:v>
                </c:pt>
                <c:pt idx="50">
                  <c:v>09.07.21</c:v>
                </c:pt>
                <c:pt idx="51">
                  <c:v>10.07.21</c:v>
                </c:pt>
                <c:pt idx="52">
                  <c:v>11.07.21</c:v>
                </c:pt>
                <c:pt idx="53">
                  <c:v>12.07.21</c:v>
                </c:pt>
                <c:pt idx="54">
                  <c:v>13.07.21</c:v>
                </c:pt>
                <c:pt idx="55">
                  <c:v>14.07.21</c:v>
                </c:pt>
                <c:pt idx="56">
                  <c:v>15.07.21</c:v>
                </c:pt>
                <c:pt idx="57">
                  <c:v>16.07.21</c:v>
                </c:pt>
                <c:pt idx="58">
                  <c:v>17.07.21</c:v>
                </c:pt>
                <c:pt idx="59">
                  <c:v>18.07.21</c:v>
                </c:pt>
                <c:pt idx="60">
                  <c:v>19.07.21</c:v>
                </c:pt>
                <c:pt idx="61">
                  <c:v>20.07.21</c:v>
                </c:pt>
                <c:pt idx="62">
                  <c:v>21.07.21</c:v>
                </c:pt>
                <c:pt idx="63">
                  <c:v>22.07.21</c:v>
                </c:pt>
                <c:pt idx="64">
                  <c:v>23.07.21</c:v>
                </c:pt>
                <c:pt idx="65">
                  <c:v>24.07.21</c:v>
                </c:pt>
                <c:pt idx="66">
                  <c:v>25.07.21</c:v>
                </c:pt>
                <c:pt idx="67">
                  <c:v>26.07.21</c:v>
                </c:pt>
                <c:pt idx="68">
                  <c:v>27.07.21</c:v>
                </c:pt>
                <c:pt idx="69">
                  <c:v>28.07.21</c:v>
                </c:pt>
                <c:pt idx="70">
                  <c:v>29.07.21</c:v>
                </c:pt>
                <c:pt idx="71">
                  <c:v>30.07.21</c:v>
                </c:pt>
                <c:pt idx="72">
                  <c:v>31.07.21</c:v>
                </c:pt>
                <c:pt idx="73">
                  <c:v>01.08.21</c:v>
                </c:pt>
                <c:pt idx="74">
                  <c:v>02.08.21</c:v>
                </c:pt>
                <c:pt idx="75">
                  <c:v>03.08.21</c:v>
                </c:pt>
                <c:pt idx="76">
                  <c:v>04.08.21</c:v>
                </c:pt>
                <c:pt idx="77">
                  <c:v>05.08.21</c:v>
                </c:pt>
                <c:pt idx="78">
                  <c:v>06.08.21</c:v>
                </c:pt>
                <c:pt idx="79">
                  <c:v>07.08.21</c:v>
                </c:pt>
                <c:pt idx="80">
                  <c:v>08.08.21</c:v>
                </c:pt>
                <c:pt idx="81">
                  <c:v>09.08.21</c:v>
                </c:pt>
                <c:pt idx="82">
                  <c:v>10.08.21</c:v>
                </c:pt>
                <c:pt idx="83">
                  <c:v>11.08.21</c:v>
                </c:pt>
                <c:pt idx="84">
                  <c:v>12.08.21</c:v>
                </c:pt>
                <c:pt idx="85">
                  <c:v>13.08.21</c:v>
                </c:pt>
                <c:pt idx="86">
                  <c:v>14.08.21</c:v>
                </c:pt>
                <c:pt idx="87">
                  <c:v>15.08.21</c:v>
                </c:pt>
                <c:pt idx="88">
                  <c:v>16.08.21</c:v>
                </c:pt>
                <c:pt idx="89">
                  <c:v>17.08.21</c:v>
                </c:pt>
                <c:pt idx="90">
                  <c:v>18.08.21</c:v>
                </c:pt>
                <c:pt idx="91">
                  <c:v>19.08.21</c:v>
                </c:pt>
                <c:pt idx="92">
                  <c:v>20.08.21</c:v>
                </c:pt>
                <c:pt idx="93">
                  <c:v>21.08.21</c:v>
                </c:pt>
                <c:pt idx="94">
                  <c:v>22.08.21</c:v>
                </c:pt>
                <c:pt idx="95">
                  <c:v>23.08.21</c:v>
                </c:pt>
                <c:pt idx="96">
                  <c:v>24.08.21</c:v>
                </c:pt>
                <c:pt idx="97">
                  <c:v>25.08.21</c:v>
                </c:pt>
                <c:pt idx="98">
                  <c:v>26.08.21</c:v>
                </c:pt>
                <c:pt idx="99">
                  <c:v>27.08.21</c:v>
                </c:pt>
                <c:pt idx="100">
                  <c:v>28.08.21</c:v>
                </c:pt>
                <c:pt idx="101">
                  <c:v>29.08.21</c:v>
                </c:pt>
                <c:pt idx="102">
                  <c:v>30.08.21</c:v>
                </c:pt>
                <c:pt idx="103">
                  <c:v>31.08.21</c:v>
                </c:pt>
                <c:pt idx="104">
                  <c:v>01.09.21</c:v>
                </c:pt>
                <c:pt idx="105">
                  <c:v>02.09.21</c:v>
                </c:pt>
                <c:pt idx="106">
                  <c:v>03.09.21</c:v>
                </c:pt>
                <c:pt idx="107">
                  <c:v>04.09.21</c:v>
                </c:pt>
                <c:pt idx="108">
                  <c:v>05.09.21</c:v>
                </c:pt>
                <c:pt idx="109">
                  <c:v>06.09.21</c:v>
                </c:pt>
                <c:pt idx="110">
                  <c:v>07.09.21</c:v>
                </c:pt>
                <c:pt idx="111">
                  <c:v>08.09.21</c:v>
                </c:pt>
                <c:pt idx="112">
                  <c:v>09.09.21</c:v>
                </c:pt>
                <c:pt idx="113">
                  <c:v>10.09.21</c:v>
                </c:pt>
                <c:pt idx="114">
                  <c:v>11.09.21</c:v>
                </c:pt>
                <c:pt idx="115">
                  <c:v>12.09.21</c:v>
                </c:pt>
                <c:pt idx="116">
                  <c:v>13.09.21</c:v>
                </c:pt>
                <c:pt idx="117">
                  <c:v>14.09.21</c:v>
                </c:pt>
                <c:pt idx="118">
                  <c:v>15.09.21</c:v>
                </c:pt>
                <c:pt idx="119">
                  <c:v>16.09.21</c:v>
                </c:pt>
                <c:pt idx="120">
                  <c:v>17.09.21</c:v>
                </c:pt>
                <c:pt idx="121">
                  <c:v>18.09.21</c:v>
                </c:pt>
                <c:pt idx="122">
                  <c:v>19.09.21</c:v>
                </c:pt>
                <c:pt idx="123">
                  <c:v>20.09.21</c:v>
                </c:pt>
                <c:pt idx="124">
                  <c:v>21.09.21</c:v>
                </c:pt>
                <c:pt idx="125">
                  <c:v>22.09.21</c:v>
                </c:pt>
                <c:pt idx="126">
                  <c:v>23.09.21</c:v>
                </c:pt>
                <c:pt idx="127">
                  <c:v>24.09.21</c:v>
                </c:pt>
                <c:pt idx="128">
                  <c:v>25.09.21</c:v>
                </c:pt>
                <c:pt idx="129">
                  <c:v>26.09.21</c:v>
                </c:pt>
                <c:pt idx="130">
                  <c:v>27.09.21</c:v>
                </c:pt>
                <c:pt idx="131">
                  <c:v>28.09.21</c:v>
                </c:pt>
                <c:pt idx="132">
                  <c:v>29.09.21</c:v>
                </c:pt>
                <c:pt idx="133">
                  <c:v>30.09.21</c:v>
                </c:pt>
                <c:pt idx="134">
                  <c:v>01.10.21</c:v>
                </c:pt>
                <c:pt idx="135">
                  <c:v>02.10.21</c:v>
                </c:pt>
                <c:pt idx="136">
                  <c:v>03.10.21</c:v>
                </c:pt>
                <c:pt idx="137">
                  <c:v>04.10.21</c:v>
                </c:pt>
                <c:pt idx="138">
                  <c:v>05.10.21</c:v>
                </c:pt>
                <c:pt idx="139">
                  <c:v>06.10.21</c:v>
                </c:pt>
                <c:pt idx="140">
                  <c:v>07.10.21</c:v>
                </c:pt>
                <c:pt idx="141">
                  <c:v>08.10.21</c:v>
                </c:pt>
                <c:pt idx="142">
                  <c:v>09.10.21</c:v>
                </c:pt>
                <c:pt idx="143">
                  <c:v>10.10.21</c:v>
                </c:pt>
                <c:pt idx="144">
                  <c:v>11.10.21</c:v>
                </c:pt>
                <c:pt idx="145">
                  <c:v>12.10.21</c:v>
                </c:pt>
                <c:pt idx="146">
                  <c:v>13.10.21</c:v>
                </c:pt>
                <c:pt idx="147">
                  <c:v>14.10.21</c:v>
                </c:pt>
                <c:pt idx="148">
                  <c:v>15.10.21</c:v>
                </c:pt>
                <c:pt idx="149">
                  <c:v>16.10.21</c:v>
                </c:pt>
                <c:pt idx="150">
                  <c:v>17.10.21</c:v>
                </c:pt>
                <c:pt idx="151">
                  <c:v>18.10.21</c:v>
                </c:pt>
                <c:pt idx="152">
                  <c:v>19.10.21</c:v>
                </c:pt>
                <c:pt idx="153">
                  <c:v>20.10.21</c:v>
                </c:pt>
                <c:pt idx="154">
                  <c:v>21.10.21</c:v>
                </c:pt>
                <c:pt idx="155">
                  <c:v>22.10.21</c:v>
                </c:pt>
                <c:pt idx="156">
                  <c:v>23.10.21</c:v>
                </c:pt>
                <c:pt idx="157">
                  <c:v>24.10.21</c:v>
                </c:pt>
                <c:pt idx="158">
                  <c:v>25.10.21</c:v>
                </c:pt>
                <c:pt idx="159">
                  <c:v>26.10.21</c:v>
                </c:pt>
                <c:pt idx="160">
                  <c:v>27.10.21</c:v>
                </c:pt>
                <c:pt idx="161">
                  <c:v>28.10.21</c:v>
                </c:pt>
                <c:pt idx="162">
                  <c:v>29.10.21</c:v>
                </c:pt>
                <c:pt idx="163">
                  <c:v>30.10.21</c:v>
                </c:pt>
                <c:pt idx="164">
                  <c:v>31.10.21</c:v>
                </c:pt>
                <c:pt idx="165">
                  <c:v>01.11.21</c:v>
                </c:pt>
                <c:pt idx="166">
                  <c:v>02.11.21</c:v>
                </c:pt>
                <c:pt idx="167">
                  <c:v>03.11.21</c:v>
                </c:pt>
                <c:pt idx="168">
                  <c:v>04.11.21</c:v>
                </c:pt>
                <c:pt idx="169">
                  <c:v>05.11.21</c:v>
                </c:pt>
                <c:pt idx="170">
                  <c:v>06.11.21</c:v>
                </c:pt>
                <c:pt idx="171">
                  <c:v>07.11.21</c:v>
                </c:pt>
                <c:pt idx="172">
                  <c:v>08.11.21</c:v>
                </c:pt>
                <c:pt idx="173">
                  <c:v>09.11.21</c:v>
                </c:pt>
                <c:pt idx="174">
                  <c:v>10.11.21</c:v>
                </c:pt>
                <c:pt idx="175">
                  <c:v>11.11.21</c:v>
                </c:pt>
                <c:pt idx="176">
                  <c:v>12.11.21</c:v>
                </c:pt>
                <c:pt idx="177">
                  <c:v>13.11.21</c:v>
                </c:pt>
                <c:pt idx="178">
                  <c:v>14.11.21</c:v>
                </c:pt>
                <c:pt idx="179">
                  <c:v>15.11.21</c:v>
                </c:pt>
                <c:pt idx="180">
                  <c:v>16.11.21</c:v>
                </c:pt>
                <c:pt idx="181">
                  <c:v>17.11.21</c:v>
                </c:pt>
                <c:pt idx="182">
                  <c:v>18.11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2</c:v>
                </c:pt>
                <c:pt idx="51">
                  <c:v>0</c:v>
                </c:pt>
                <c:pt idx="52">
                  <c:v>0</c:v>
                </c:pt>
                <c:pt idx="53">
                  <c:v>2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3</c:v>
                </c:pt>
                <c:pt idx="58">
                  <c:v>2</c:v>
                </c:pt>
                <c:pt idx="59">
                  <c:v>1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4</c:v>
                </c:pt>
                <c:pt idx="64">
                  <c:v>0</c:v>
                </c:pt>
                <c:pt idx="65">
                  <c:v>0</c:v>
                </c:pt>
                <c:pt idx="66">
                  <c:v>1</c:v>
                </c:pt>
                <c:pt idx="67">
                  <c:v>3</c:v>
                </c:pt>
                <c:pt idx="68">
                  <c:v>1</c:v>
                </c:pt>
                <c:pt idx="69">
                  <c:v>1</c:v>
                </c:pt>
                <c:pt idx="70">
                  <c:v>2</c:v>
                </c:pt>
                <c:pt idx="71">
                  <c:v>2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6</c:v>
                </c:pt>
                <c:pt idx="77">
                  <c:v>1</c:v>
                </c:pt>
                <c:pt idx="78">
                  <c:v>2</c:v>
                </c:pt>
                <c:pt idx="79">
                  <c:v>0</c:v>
                </c:pt>
                <c:pt idx="80">
                  <c:v>2</c:v>
                </c:pt>
                <c:pt idx="81">
                  <c:v>2</c:v>
                </c:pt>
                <c:pt idx="82">
                  <c:v>0</c:v>
                </c:pt>
                <c:pt idx="83">
                  <c:v>3</c:v>
                </c:pt>
                <c:pt idx="84">
                  <c:v>1</c:v>
                </c:pt>
                <c:pt idx="85">
                  <c:v>1</c:v>
                </c:pt>
                <c:pt idx="86">
                  <c:v>0</c:v>
                </c:pt>
                <c:pt idx="87">
                  <c:v>0</c:v>
                </c:pt>
                <c:pt idx="88">
                  <c:v>3</c:v>
                </c:pt>
                <c:pt idx="89">
                  <c:v>0</c:v>
                </c:pt>
                <c:pt idx="90">
                  <c:v>0</c:v>
                </c:pt>
                <c:pt idx="91">
                  <c:v>1</c:v>
                </c:pt>
                <c:pt idx="92">
                  <c:v>1</c:v>
                </c:pt>
                <c:pt idx="93">
                  <c:v>0</c:v>
                </c:pt>
                <c:pt idx="94">
                  <c:v>0</c:v>
                </c:pt>
                <c:pt idx="95">
                  <c:v>2</c:v>
                </c:pt>
                <c:pt idx="96">
                  <c:v>0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0</c:v>
                </c:pt>
                <c:pt idx="102">
                  <c:v>0</c:v>
                </c:pt>
                <c:pt idx="103">
                  <c:v>4</c:v>
                </c:pt>
                <c:pt idx="104">
                  <c:v>4</c:v>
                </c:pt>
                <c:pt idx="105">
                  <c:v>1</c:v>
                </c:pt>
                <c:pt idx="106">
                  <c:v>1</c:v>
                </c:pt>
                <c:pt idx="107">
                  <c:v>3</c:v>
                </c:pt>
                <c:pt idx="108">
                  <c:v>1</c:v>
                </c:pt>
                <c:pt idx="109">
                  <c:v>0</c:v>
                </c:pt>
                <c:pt idx="110">
                  <c:v>2</c:v>
                </c:pt>
                <c:pt idx="111">
                  <c:v>0</c:v>
                </c:pt>
                <c:pt idx="112">
                  <c:v>0</c:v>
                </c:pt>
                <c:pt idx="113">
                  <c:v>3</c:v>
                </c:pt>
                <c:pt idx="114">
                  <c:v>3</c:v>
                </c:pt>
                <c:pt idx="115">
                  <c:v>0</c:v>
                </c:pt>
                <c:pt idx="116">
                  <c:v>4</c:v>
                </c:pt>
                <c:pt idx="117">
                  <c:v>2</c:v>
                </c:pt>
                <c:pt idx="118">
                  <c:v>0</c:v>
                </c:pt>
                <c:pt idx="119">
                  <c:v>1</c:v>
                </c:pt>
                <c:pt idx="120">
                  <c:v>2</c:v>
                </c:pt>
                <c:pt idx="121">
                  <c:v>1</c:v>
                </c:pt>
                <c:pt idx="122">
                  <c:v>1</c:v>
                </c:pt>
                <c:pt idx="123">
                  <c:v>0</c:v>
                </c:pt>
                <c:pt idx="124">
                  <c:v>3</c:v>
                </c:pt>
                <c:pt idx="125">
                  <c:v>3</c:v>
                </c:pt>
                <c:pt idx="126">
                  <c:v>2</c:v>
                </c:pt>
                <c:pt idx="127">
                  <c:v>3</c:v>
                </c:pt>
                <c:pt idx="128">
                  <c:v>0</c:v>
                </c:pt>
                <c:pt idx="129">
                  <c:v>2</c:v>
                </c:pt>
                <c:pt idx="130">
                  <c:v>6</c:v>
                </c:pt>
                <c:pt idx="131">
                  <c:v>4</c:v>
                </c:pt>
                <c:pt idx="132">
                  <c:v>3</c:v>
                </c:pt>
                <c:pt idx="133">
                  <c:v>9</c:v>
                </c:pt>
                <c:pt idx="134">
                  <c:v>2</c:v>
                </c:pt>
                <c:pt idx="135">
                  <c:v>5</c:v>
                </c:pt>
                <c:pt idx="136">
                  <c:v>1</c:v>
                </c:pt>
                <c:pt idx="137">
                  <c:v>0</c:v>
                </c:pt>
                <c:pt idx="138">
                  <c:v>2</c:v>
                </c:pt>
                <c:pt idx="139">
                  <c:v>5</c:v>
                </c:pt>
                <c:pt idx="140">
                  <c:v>6</c:v>
                </c:pt>
                <c:pt idx="141">
                  <c:v>6</c:v>
                </c:pt>
                <c:pt idx="142">
                  <c:v>1</c:v>
                </c:pt>
                <c:pt idx="143">
                  <c:v>1</c:v>
                </c:pt>
                <c:pt idx="144">
                  <c:v>3</c:v>
                </c:pt>
                <c:pt idx="145">
                  <c:v>10</c:v>
                </c:pt>
                <c:pt idx="146">
                  <c:v>7</c:v>
                </c:pt>
                <c:pt idx="147">
                  <c:v>7</c:v>
                </c:pt>
                <c:pt idx="148">
                  <c:v>6</c:v>
                </c:pt>
                <c:pt idx="149">
                  <c:v>5</c:v>
                </c:pt>
                <c:pt idx="150">
                  <c:v>8</c:v>
                </c:pt>
                <c:pt idx="151">
                  <c:v>17</c:v>
                </c:pt>
                <c:pt idx="152">
                  <c:v>16</c:v>
                </c:pt>
                <c:pt idx="153">
                  <c:v>13</c:v>
                </c:pt>
                <c:pt idx="154">
                  <c:v>13</c:v>
                </c:pt>
                <c:pt idx="155">
                  <c:v>16</c:v>
                </c:pt>
                <c:pt idx="156">
                  <c:v>12</c:v>
                </c:pt>
                <c:pt idx="157">
                  <c:v>12</c:v>
                </c:pt>
                <c:pt idx="158">
                  <c:v>29</c:v>
                </c:pt>
                <c:pt idx="159">
                  <c:v>20</c:v>
                </c:pt>
                <c:pt idx="160">
                  <c:v>23</c:v>
                </c:pt>
                <c:pt idx="161">
                  <c:v>22</c:v>
                </c:pt>
                <c:pt idx="162">
                  <c:v>36</c:v>
                </c:pt>
                <c:pt idx="163">
                  <c:v>21</c:v>
                </c:pt>
                <c:pt idx="164">
                  <c:v>18</c:v>
                </c:pt>
                <c:pt idx="165">
                  <c:v>55</c:v>
                </c:pt>
                <c:pt idx="166">
                  <c:v>37</c:v>
                </c:pt>
                <c:pt idx="167">
                  <c:v>38</c:v>
                </c:pt>
                <c:pt idx="168">
                  <c:v>27</c:v>
                </c:pt>
                <c:pt idx="169">
                  <c:v>39</c:v>
                </c:pt>
                <c:pt idx="170">
                  <c:v>20</c:v>
                </c:pt>
                <c:pt idx="171">
                  <c:v>18</c:v>
                </c:pt>
                <c:pt idx="172">
                  <c:v>52</c:v>
                </c:pt>
                <c:pt idx="173">
                  <c:v>46</c:v>
                </c:pt>
                <c:pt idx="174">
                  <c:v>48</c:v>
                </c:pt>
                <c:pt idx="175">
                  <c:v>48</c:v>
                </c:pt>
                <c:pt idx="176">
                  <c:v>41</c:v>
                </c:pt>
                <c:pt idx="177">
                  <c:v>49</c:v>
                </c:pt>
                <c:pt idx="178">
                  <c:v>22</c:v>
                </c:pt>
                <c:pt idx="179">
                  <c:v>62</c:v>
                </c:pt>
                <c:pt idx="180">
                  <c:v>55</c:v>
                </c:pt>
                <c:pt idx="181">
                  <c:v>39</c:v>
                </c:pt>
                <c:pt idx="182">
                  <c:v>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8.6736173798840355E-19"/>
                  <c:y val="-1.398757814142048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86906347092765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0.05.21</c:v>
                </c:pt>
                <c:pt idx="1">
                  <c:v>21.05.21</c:v>
                </c:pt>
                <c:pt idx="2">
                  <c:v>22.05.21</c:v>
                </c:pt>
                <c:pt idx="3">
                  <c:v>23.05.21</c:v>
                </c:pt>
                <c:pt idx="4">
                  <c:v>24.05.21</c:v>
                </c:pt>
                <c:pt idx="5">
                  <c:v>25.05.21</c:v>
                </c:pt>
                <c:pt idx="6">
                  <c:v>26.05.21</c:v>
                </c:pt>
                <c:pt idx="7">
                  <c:v>27.05.21</c:v>
                </c:pt>
                <c:pt idx="8">
                  <c:v>28.05.21</c:v>
                </c:pt>
                <c:pt idx="9">
                  <c:v>29.05.21</c:v>
                </c:pt>
                <c:pt idx="10">
                  <c:v>30.05.21</c:v>
                </c:pt>
                <c:pt idx="11">
                  <c:v>31.05.21</c:v>
                </c:pt>
                <c:pt idx="12">
                  <c:v>01.06.21</c:v>
                </c:pt>
                <c:pt idx="13">
                  <c:v>02.06.21</c:v>
                </c:pt>
                <c:pt idx="14">
                  <c:v>03.06.21</c:v>
                </c:pt>
                <c:pt idx="15">
                  <c:v>04.06.21</c:v>
                </c:pt>
                <c:pt idx="16">
                  <c:v>05.06.21</c:v>
                </c:pt>
                <c:pt idx="17">
                  <c:v>06.06.21</c:v>
                </c:pt>
                <c:pt idx="18">
                  <c:v>07.06.21</c:v>
                </c:pt>
                <c:pt idx="19">
                  <c:v>08.06.21</c:v>
                </c:pt>
                <c:pt idx="20">
                  <c:v>09.06.21</c:v>
                </c:pt>
                <c:pt idx="21">
                  <c:v>10.06.21</c:v>
                </c:pt>
                <c:pt idx="22">
                  <c:v>11.06.21</c:v>
                </c:pt>
                <c:pt idx="23">
                  <c:v>12.06.21</c:v>
                </c:pt>
                <c:pt idx="24">
                  <c:v>13.06.21</c:v>
                </c:pt>
                <c:pt idx="25">
                  <c:v>14.06.21</c:v>
                </c:pt>
                <c:pt idx="26">
                  <c:v>15.06.21</c:v>
                </c:pt>
                <c:pt idx="27">
                  <c:v>16.06.21</c:v>
                </c:pt>
                <c:pt idx="28">
                  <c:v>17.06.21</c:v>
                </c:pt>
                <c:pt idx="29">
                  <c:v>18.06.21</c:v>
                </c:pt>
                <c:pt idx="30">
                  <c:v>19.06.21</c:v>
                </c:pt>
                <c:pt idx="31">
                  <c:v>20.06.21</c:v>
                </c:pt>
                <c:pt idx="32">
                  <c:v>21.06.21</c:v>
                </c:pt>
                <c:pt idx="33">
                  <c:v>22.06.21</c:v>
                </c:pt>
                <c:pt idx="34">
                  <c:v>23.06.21</c:v>
                </c:pt>
                <c:pt idx="35">
                  <c:v>24.06.21</c:v>
                </c:pt>
                <c:pt idx="36">
                  <c:v>25.06.21</c:v>
                </c:pt>
                <c:pt idx="37">
                  <c:v>26.06.21</c:v>
                </c:pt>
                <c:pt idx="38">
                  <c:v>27.06.21</c:v>
                </c:pt>
                <c:pt idx="39">
                  <c:v>28.06.21</c:v>
                </c:pt>
                <c:pt idx="40">
                  <c:v>29.06.21</c:v>
                </c:pt>
                <c:pt idx="41">
                  <c:v>30.06.21</c:v>
                </c:pt>
                <c:pt idx="42">
                  <c:v>01.07.21</c:v>
                </c:pt>
                <c:pt idx="43">
                  <c:v>02.07.21</c:v>
                </c:pt>
                <c:pt idx="44">
                  <c:v>03.07.21</c:v>
                </c:pt>
                <c:pt idx="45">
                  <c:v>04.07.21</c:v>
                </c:pt>
                <c:pt idx="46">
                  <c:v>05.07.21</c:v>
                </c:pt>
                <c:pt idx="47">
                  <c:v>06.07.21</c:v>
                </c:pt>
                <c:pt idx="48">
                  <c:v>07.07.21</c:v>
                </c:pt>
                <c:pt idx="49">
                  <c:v>08.07.21</c:v>
                </c:pt>
                <c:pt idx="50">
                  <c:v>09.07.21</c:v>
                </c:pt>
                <c:pt idx="51">
                  <c:v>10.07.21</c:v>
                </c:pt>
                <c:pt idx="52">
                  <c:v>11.07.21</c:v>
                </c:pt>
                <c:pt idx="53">
                  <c:v>12.07.21</c:v>
                </c:pt>
                <c:pt idx="54">
                  <c:v>13.07.21</c:v>
                </c:pt>
                <c:pt idx="55">
                  <c:v>14.07.21</c:v>
                </c:pt>
                <c:pt idx="56">
                  <c:v>15.07.21</c:v>
                </c:pt>
                <c:pt idx="57">
                  <c:v>16.07.21</c:v>
                </c:pt>
                <c:pt idx="58">
                  <c:v>17.07.21</c:v>
                </c:pt>
                <c:pt idx="59">
                  <c:v>18.07.21</c:v>
                </c:pt>
                <c:pt idx="60">
                  <c:v>19.07.21</c:v>
                </c:pt>
                <c:pt idx="61">
                  <c:v>20.07.21</c:v>
                </c:pt>
                <c:pt idx="62">
                  <c:v>21.07.21</c:v>
                </c:pt>
                <c:pt idx="63">
                  <c:v>22.07.21</c:v>
                </c:pt>
                <c:pt idx="64">
                  <c:v>23.07.21</c:v>
                </c:pt>
                <c:pt idx="65">
                  <c:v>24.07.21</c:v>
                </c:pt>
                <c:pt idx="66">
                  <c:v>25.07.21</c:v>
                </c:pt>
                <c:pt idx="67">
                  <c:v>26.07.21</c:v>
                </c:pt>
                <c:pt idx="68">
                  <c:v>27.07.21</c:v>
                </c:pt>
                <c:pt idx="69">
                  <c:v>28.07.21</c:v>
                </c:pt>
                <c:pt idx="70">
                  <c:v>29.07.21</c:v>
                </c:pt>
                <c:pt idx="71">
                  <c:v>30.07.21</c:v>
                </c:pt>
                <c:pt idx="72">
                  <c:v>31.07.21</c:v>
                </c:pt>
                <c:pt idx="73">
                  <c:v>01.08.21</c:v>
                </c:pt>
                <c:pt idx="74">
                  <c:v>02.08.21</c:v>
                </c:pt>
                <c:pt idx="75">
                  <c:v>03.08.21</c:v>
                </c:pt>
                <c:pt idx="76">
                  <c:v>04.08.21</c:v>
                </c:pt>
                <c:pt idx="77">
                  <c:v>05.08.21</c:v>
                </c:pt>
                <c:pt idx="78">
                  <c:v>06.08.21</c:v>
                </c:pt>
                <c:pt idx="79">
                  <c:v>07.08.21</c:v>
                </c:pt>
                <c:pt idx="80">
                  <c:v>08.08.21</c:v>
                </c:pt>
                <c:pt idx="81">
                  <c:v>09.08.21</c:v>
                </c:pt>
                <c:pt idx="82">
                  <c:v>10.08.21</c:v>
                </c:pt>
                <c:pt idx="83">
                  <c:v>11.08.21</c:v>
                </c:pt>
                <c:pt idx="84">
                  <c:v>12.08.21</c:v>
                </c:pt>
                <c:pt idx="85">
                  <c:v>13.08.21</c:v>
                </c:pt>
                <c:pt idx="86">
                  <c:v>14.08.21</c:v>
                </c:pt>
                <c:pt idx="87">
                  <c:v>15.08.21</c:v>
                </c:pt>
                <c:pt idx="88">
                  <c:v>16.08.21</c:v>
                </c:pt>
                <c:pt idx="89">
                  <c:v>17.08.21</c:v>
                </c:pt>
                <c:pt idx="90">
                  <c:v>18.08.21</c:v>
                </c:pt>
                <c:pt idx="91">
                  <c:v>19.08.21</c:v>
                </c:pt>
                <c:pt idx="92">
                  <c:v>20.08.21</c:v>
                </c:pt>
                <c:pt idx="93">
                  <c:v>21.08.21</c:v>
                </c:pt>
                <c:pt idx="94">
                  <c:v>22.08.21</c:v>
                </c:pt>
                <c:pt idx="95">
                  <c:v>23.08.21</c:v>
                </c:pt>
                <c:pt idx="96">
                  <c:v>24.08.21</c:v>
                </c:pt>
                <c:pt idx="97">
                  <c:v>25.08.21</c:v>
                </c:pt>
                <c:pt idx="98">
                  <c:v>26.08.21</c:v>
                </c:pt>
                <c:pt idx="99">
                  <c:v>27.08.21</c:v>
                </c:pt>
                <c:pt idx="100">
                  <c:v>28.08.21</c:v>
                </c:pt>
                <c:pt idx="101">
                  <c:v>29.08.21</c:v>
                </c:pt>
                <c:pt idx="102">
                  <c:v>30.08.21</c:v>
                </c:pt>
                <c:pt idx="103">
                  <c:v>31.08.21</c:v>
                </c:pt>
                <c:pt idx="104">
                  <c:v>01.09.21</c:v>
                </c:pt>
                <c:pt idx="105">
                  <c:v>02.09.21</c:v>
                </c:pt>
                <c:pt idx="106">
                  <c:v>03.09.21</c:v>
                </c:pt>
                <c:pt idx="107">
                  <c:v>04.09.21</c:v>
                </c:pt>
                <c:pt idx="108">
                  <c:v>05.09.21</c:v>
                </c:pt>
                <c:pt idx="109">
                  <c:v>06.09.21</c:v>
                </c:pt>
                <c:pt idx="110">
                  <c:v>07.09.21</c:v>
                </c:pt>
                <c:pt idx="111">
                  <c:v>08.09.21</c:v>
                </c:pt>
                <c:pt idx="112">
                  <c:v>09.09.21</c:v>
                </c:pt>
                <c:pt idx="113">
                  <c:v>10.09.21</c:v>
                </c:pt>
                <c:pt idx="114">
                  <c:v>11.09.21</c:v>
                </c:pt>
                <c:pt idx="115">
                  <c:v>12.09.21</c:v>
                </c:pt>
                <c:pt idx="116">
                  <c:v>13.09.21</c:v>
                </c:pt>
                <c:pt idx="117">
                  <c:v>14.09.21</c:v>
                </c:pt>
                <c:pt idx="118">
                  <c:v>15.09.21</c:v>
                </c:pt>
                <c:pt idx="119">
                  <c:v>16.09.21</c:v>
                </c:pt>
                <c:pt idx="120">
                  <c:v>17.09.21</c:v>
                </c:pt>
                <c:pt idx="121">
                  <c:v>18.09.21</c:v>
                </c:pt>
                <c:pt idx="122">
                  <c:v>19.09.21</c:v>
                </c:pt>
                <c:pt idx="123">
                  <c:v>20.09.21</c:v>
                </c:pt>
                <c:pt idx="124">
                  <c:v>21.09.21</c:v>
                </c:pt>
                <c:pt idx="125">
                  <c:v>22.09.21</c:v>
                </c:pt>
                <c:pt idx="126">
                  <c:v>23.09.21</c:v>
                </c:pt>
                <c:pt idx="127">
                  <c:v>24.09.21</c:v>
                </c:pt>
                <c:pt idx="128">
                  <c:v>25.09.21</c:v>
                </c:pt>
                <c:pt idx="129">
                  <c:v>26.09.21</c:v>
                </c:pt>
                <c:pt idx="130">
                  <c:v>27.09.21</c:v>
                </c:pt>
                <c:pt idx="131">
                  <c:v>28.09.21</c:v>
                </c:pt>
                <c:pt idx="132">
                  <c:v>29.09.21</c:v>
                </c:pt>
                <c:pt idx="133">
                  <c:v>30.09.21</c:v>
                </c:pt>
                <c:pt idx="134">
                  <c:v>01.10.21</c:v>
                </c:pt>
                <c:pt idx="135">
                  <c:v>02.10.21</c:v>
                </c:pt>
                <c:pt idx="136">
                  <c:v>03.10.21</c:v>
                </c:pt>
                <c:pt idx="137">
                  <c:v>04.10.21</c:v>
                </c:pt>
                <c:pt idx="138">
                  <c:v>05.10.21</c:v>
                </c:pt>
                <c:pt idx="139">
                  <c:v>06.10.21</c:v>
                </c:pt>
                <c:pt idx="140">
                  <c:v>07.10.21</c:v>
                </c:pt>
                <c:pt idx="141">
                  <c:v>08.10.21</c:v>
                </c:pt>
                <c:pt idx="142">
                  <c:v>09.10.21</c:v>
                </c:pt>
                <c:pt idx="143">
                  <c:v>10.10.21</c:v>
                </c:pt>
                <c:pt idx="144">
                  <c:v>11.10.21</c:v>
                </c:pt>
                <c:pt idx="145">
                  <c:v>12.10.21</c:v>
                </c:pt>
                <c:pt idx="146">
                  <c:v>13.10.21</c:v>
                </c:pt>
                <c:pt idx="147">
                  <c:v>14.10.21</c:v>
                </c:pt>
                <c:pt idx="148">
                  <c:v>15.10.21</c:v>
                </c:pt>
                <c:pt idx="149">
                  <c:v>16.10.21</c:v>
                </c:pt>
                <c:pt idx="150">
                  <c:v>17.10.21</c:v>
                </c:pt>
                <c:pt idx="151">
                  <c:v>18.10.21</c:v>
                </c:pt>
                <c:pt idx="152">
                  <c:v>19.10.21</c:v>
                </c:pt>
                <c:pt idx="153">
                  <c:v>20.10.21</c:v>
                </c:pt>
                <c:pt idx="154">
                  <c:v>21.10.21</c:v>
                </c:pt>
                <c:pt idx="155">
                  <c:v>22.10.21</c:v>
                </c:pt>
                <c:pt idx="156">
                  <c:v>23.10.21</c:v>
                </c:pt>
                <c:pt idx="157">
                  <c:v>24.10.21</c:v>
                </c:pt>
                <c:pt idx="158">
                  <c:v>25.10.21</c:v>
                </c:pt>
                <c:pt idx="159">
                  <c:v>26.10.21</c:v>
                </c:pt>
                <c:pt idx="160">
                  <c:v>27.10.21</c:v>
                </c:pt>
                <c:pt idx="161">
                  <c:v>28.10.21</c:v>
                </c:pt>
                <c:pt idx="162">
                  <c:v>29.10.21</c:v>
                </c:pt>
                <c:pt idx="163">
                  <c:v>30.10.21</c:v>
                </c:pt>
                <c:pt idx="164">
                  <c:v>31.10.21</c:v>
                </c:pt>
                <c:pt idx="165">
                  <c:v>01.11.21</c:v>
                </c:pt>
                <c:pt idx="166">
                  <c:v>02.11.21</c:v>
                </c:pt>
                <c:pt idx="167">
                  <c:v>03.11.21</c:v>
                </c:pt>
                <c:pt idx="168">
                  <c:v>04.11.21</c:v>
                </c:pt>
                <c:pt idx="169">
                  <c:v>05.11.21</c:v>
                </c:pt>
                <c:pt idx="170">
                  <c:v>06.11.21</c:v>
                </c:pt>
                <c:pt idx="171">
                  <c:v>07.11.21</c:v>
                </c:pt>
                <c:pt idx="172">
                  <c:v>08.11.21</c:v>
                </c:pt>
                <c:pt idx="173">
                  <c:v>09.11.21</c:v>
                </c:pt>
                <c:pt idx="174">
                  <c:v>10.11.21</c:v>
                </c:pt>
                <c:pt idx="175">
                  <c:v>11.11.21</c:v>
                </c:pt>
                <c:pt idx="176">
                  <c:v>12.11.21</c:v>
                </c:pt>
                <c:pt idx="177">
                  <c:v>13.11.21</c:v>
                </c:pt>
                <c:pt idx="178">
                  <c:v>14.11.21</c:v>
                </c:pt>
                <c:pt idx="179">
                  <c:v>15.11.21</c:v>
                </c:pt>
                <c:pt idx="180">
                  <c:v>16.11.21</c:v>
                </c:pt>
                <c:pt idx="181">
                  <c:v>17.11.21</c:v>
                </c:pt>
                <c:pt idx="182">
                  <c:v>18.11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6</c:v>
                </c:pt>
                <c:pt idx="1">
                  <c:v>3</c:v>
                </c:pt>
                <c:pt idx="2">
                  <c:v>3</c:v>
                </c:pt>
                <c:pt idx="3">
                  <c:v>0</c:v>
                </c:pt>
                <c:pt idx="4">
                  <c:v>3</c:v>
                </c:pt>
                <c:pt idx="5">
                  <c:v>4</c:v>
                </c:pt>
                <c:pt idx="6">
                  <c:v>6</c:v>
                </c:pt>
                <c:pt idx="7">
                  <c:v>2</c:v>
                </c:pt>
                <c:pt idx="8">
                  <c:v>4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1</c:v>
                </c:pt>
                <c:pt idx="13">
                  <c:v>0</c:v>
                </c:pt>
                <c:pt idx="14">
                  <c:v>5</c:v>
                </c:pt>
                <c:pt idx="15">
                  <c:v>1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2</c:v>
                </c:pt>
                <c:pt idx="29">
                  <c:v>3</c:v>
                </c:pt>
                <c:pt idx="30">
                  <c:v>1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0</c:v>
                </c:pt>
                <c:pt idx="42">
                  <c:v>1</c:v>
                </c:pt>
                <c:pt idx="43">
                  <c:v>2</c:v>
                </c:pt>
                <c:pt idx="44">
                  <c:v>0</c:v>
                </c:pt>
                <c:pt idx="45">
                  <c:v>1</c:v>
                </c:pt>
                <c:pt idx="46">
                  <c:v>4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1</c:v>
                </c:pt>
                <c:pt idx="51">
                  <c:v>0</c:v>
                </c:pt>
                <c:pt idx="52">
                  <c:v>0</c:v>
                </c:pt>
                <c:pt idx="53">
                  <c:v>2</c:v>
                </c:pt>
                <c:pt idx="54">
                  <c:v>3</c:v>
                </c:pt>
                <c:pt idx="55">
                  <c:v>2</c:v>
                </c:pt>
                <c:pt idx="56">
                  <c:v>2</c:v>
                </c:pt>
                <c:pt idx="57">
                  <c:v>0</c:v>
                </c:pt>
                <c:pt idx="58">
                  <c:v>0</c:v>
                </c:pt>
                <c:pt idx="59">
                  <c:v>1</c:v>
                </c:pt>
                <c:pt idx="60">
                  <c:v>4</c:v>
                </c:pt>
                <c:pt idx="61">
                  <c:v>0</c:v>
                </c:pt>
                <c:pt idx="62">
                  <c:v>4</c:v>
                </c:pt>
                <c:pt idx="63">
                  <c:v>0</c:v>
                </c:pt>
                <c:pt idx="64">
                  <c:v>4</c:v>
                </c:pt>
                <c:pt idx="65">
                  <c:v>1</c:v>
                </c:pt>
                <c:pt idx="66">
                  <c:v>1</c:v>
                </c:pt>
                <c:pt idx="67">
                  <c:v>3</c:v>
                </c:pt>
                <c:pt idx="68">
                  <c:v>0</c:v>
                </c:pt>
                <c:pt idx="69">
                  <c:v>0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0</c:v>
                </c:pt>
                <c:pt idx="74">
                  <c:v>0</c:v>
                </c:pt>
                <c:pt idx="75">
                  <c:v>2</c:v>
                </c:pt>
                <c:pt idx="76">
                  <c:v>1</c:v>
                </c:pt>
                <c:pt idx="77">
                  <c:v>0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2</c:v>
                </c:pt>
                <c:pt idx="86">
                  <c:v>3</c:v>
                </c:pt>
                <c:pt idx="87">
                  <c:v>1</c:v>
                </c:pt>
                <c:pt idx="88">
                  <c:v>3</c:v>
                </c:pt>
                <c:pt idx="89">
                  <c:v>3</c:v>
                </c:pt>
                <c:pt idx="90">
                  <c:v>2</c:v>
                </c:pt>
                <c:pt idx="91">
                  <c:v>1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4</c:v>
                </c:pt>
                <c:pt idx="96">
                  <c:v>2</c:v>
                </c:pt>
                <c:pt idx="97">
                  <c:v>0</c:v>
                </c:pt>
                <c:pt idx="98">
                  <c:v>2</c:v>
                </c:pt>
                <c:pt idx="99">
                  <c:v>1</c:v>
                </c:pt>
                <c:pt idx="100">
                  <c:v>2</c:v>
                </c:pt>
                <c:pt idx="101">
                  <c:v>1</c:v>
                </c:pt>
                <c:pt idx="102">
                  <c:v>0</c:v>
                </c:pt>
                <c:pt idx="103">
                  <c:v>2</c:v>
                </c:pt>
                <c:pt idx="104">
                  <c:v>1</c:v>
                </c:pt>
                <c:pt idx="105">
                  <c:v>5</c:v>
                </c:pt>
                <c:pt idx="106">
                  <c:v>6</c:v>
                </c:pt>
                <c:pt idx="107">
                  <c:v>1</c:v>
                </c:pt>
                <c:pt idx="108">
                  <c:v>0</c:v>
                </c:pt>
                <c:pt idx="109">
                  <c:v>2</c:v>
                </c:pt>
                <c:pt idx="110">
                  <c:v>6</c:v>
                </c:pt>
                <c:pt idx="111">
                  <c:v>1</c:v>
                </c:pt>
                <c:pt idx="112">
                  <c:v>4</c:v>
                </c:pt>
                <c:pt idx="113">
                  <c:v>0</c:v>
                </c:pt>
                <c:pt idx="114">
                  <c:v>1</c:v>
                </c:pt>
                <c:pt idx="115">
                  <c:v>2</c:v>
                </c:pt>
                <c:pt idx="116">
                  <c:v>3</c:v>
                </c:pt>
                <c:pt idx="117">
                  <c:v>4</c:v>
                </c:pt>
                <c:pt idx="118">
                  <c:v>3</c:v>
                </c:pt>
                <c:pt idx="119">
                  <c:v>7</c:v>
                </c:pt>
                <c:pt idx="120">
                  <c:v>5</c:v>
                </c:pt>
                <c:pt idx="121">
                  <c:v>2</c:v>
                </c:pt>
                <c:pt idx="122">
                  <c:v>2</c:v>
                </c:pt>
                <c:pt idx="123">
                  <c:v>10</c:v>
                </c:pt>
                <c:pt idx="124">
                  <c:v>7</c:v>
                </c:pt>
                <c:pt idx="125">
                  <c:v>6</c:v>
                </c:pt>
                <c:pt idx="126">
                  <c:v>5</c:v>
                </c:pt>
                <c:pt idx="127">
                  <c:v>7</c:v>
                </c:pt>
                <c:pt idx="128">
                  <c:v>7</c:v>
                </c:pt>
                <c:pt idx="129">
                  <c:v>6</c:v>
                </c:pt>
                <c:pt idx="130">
                  <c:v>5</c:v>
                </c:pt>
                <c:pt idx="131">
                  <c:v>7</c:v>
                </c:pt>
                <c:pt idx="132">
                  <c:v>12</c:v>
                </c:pt>
                <c:pt idx="133">
                  <c:v>15</c:v>
                </c:pt>
                <c:pt idx="134">
                  <c:v>7</c:v>
                </c:pt>
                <c:pt idx="135">
                  <c:v>5</c:v>
                </c:pt>
                <c:pt idx="136">
                  <c:v>8</c:v>
                </c:pt>
                <c:pt idx="137">
                  <c:v>10</c:v>
                </c:pt>
                <c:pt idx="138">
                  <c:v>12</c:v>
                </c:pt>
                <c:pt idx="139">
                  <c:v>9</c:v>
                </c:pt>
                <c:pt idx="140">
                  <c:v>8</c:v>
                </c:pt>
                <c:pt idx="141">
                  <c:v>9</c:v>
                </c:pt>
                <c:pt idx="142">
                  <c:v>5</c:v>
                </c:pt>
                <c:pt idx="143">
                  <c:v>4</c:v>
                </c:pt>
                <c:pt idx="144">
                  <c:v>17</c:v>
                </c:pt>
                <c:pt idx="145">
                  <c:v>17</c:v>
                </c:pt>
                <c:pt idx="146">
                  <c:v>20</c:v>
                </c:pt>
                <c:pt idx="147">
                  <c:v>17</c:v>
                </c:pt>
                <c:pt idx="148">
                  <c:v>17</c:v>
                </c:pt>
                <c:pt idx="149">
                  <c:v>10</c:v>
                </c:pt>
                <c:pt idx="150">
                  <c:v>10</c:v>
                </c:pt>
                <c:pt idx="151">
                  <c:v>32</c:v>
                </c:pt>
                <c:pt idx="152">
                  <c:v>25</c:v>
                </c:pt>
                <c:pt idx="153">
                  <c:v>24</c:v>
                </c:pt>
                <c:pt idx="154">
                  <c:v>48</c:v>
                </c:pt>
                <c:pt idx="155">
                  <c:v>38</c:v>
                </c:pt>
                <c:pt idx="156">
                  <c:v>31</c:v>
                </c:pt>
                <c:pt idx="157">
                  <c:v>11</c:v>
                </c:pt>
                <c:pt idx="158">
                  <c:v>59</c:v>
                </c:pt>
                <c:pt idx="159">
                  <c:v>63</c:v>
                </c:pt>
                <c:pt idx="160">
                  <c:v>71</c:v>
                </c:pt>
                <c:pt idx="161">
                  <c:v>31</c:v>
                </c:pt>
                <c:pt idx="162">
                  <c:v>75</c:v>
                </c:pt>
                <c:pt idx="163">
                  <c:v>56</c:v>
                </c:pt>
                <c:pt idx="164">
                  <c:v>37</c:v>
                </c:pt>
                <c:pt idx="165">
                  <c:v>103</c:v>
                </c:pt>
                <c:pt idx="166">
                  <c:v>100</c:v>
                </c:pt>
                <c:pt idx="167">
                  <c:v>108</c:v>
                </c:pt>
                <c:pt idx="168">
                  <c:v>94</c:v>
                </c:pt>
                <c:pt idx="169">
                  <c:v>107</c:v>
                </c:pt>
                <c:pt idx="170">
                  <c:v>78</c:v>
                </c:pt>
                <c:pt idx="171">
                  <c:v>25</c:v>
                </c:pt>
                <c:pt idx="172">
                  <c:v>119</c:v>
                </c:pt>
                <c:pt idx="173">
                  <c:v>132</c:v>
                </c:pt>
                <c:pt idx="174">
                  <c:v>163</c:v>
                </c:pt>
                <c:pt idx="175">
                  <c:v>90</c:v>
                </c:pt>
                <c:pt idx="176">
                  <c:v>151</c:v>
                </c:pt>
                <c:pt idx="177">
                  <c:v>84</c:v>
                </c:pt>
                <c:pt idx="178">
                  <c:v>52</c:v>
                </c:pt>
                <c:pt idx="179">
                  <c:v>144</c:v>
                </c:pt>
                <c:pt idx="180">
                  <c:v>208</c:v>
                </c:pt>
                <c:pt idx="181">
                  <c:v>101</c:v>
                </c:pt>
                <c:pt idx="182">
                  <c:v>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3.550821127385838E-3"/>
                  <c:y val="3.263798827201787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0.05.21</c:v>
                </c:pt>
                <c:pt idx="1">
                  <c:v>21.05.21</c:v>
                </c:pt>
                <c:pt idx="2">
                  <c:v>22.05.21</c:v>
                </c:pt>
                <c:pt idx="3">
                  <c:v>23.05.21</c:v>
                </c:pt>
                <c:pt idx="4">
                  <c:v>24.05.21</c:v>
                </c:pt>
                <c:pt idx="5">
                  <c:v>25.05.21</c:v>
                </c:pt>
                <c:pt idx="6">
                  <c:v>26.05.21</c:v>
                </c:pt>
                <c:pt idx="7">
                  <c:v>27.05.21</c:v>
                </c:pt>
                <c:pt idx="8">
                  <c:v>28.05.21</c:v>
                </c:pt>
                <c:pt idx="9">
                  <c:v>29.05.21</c:v>
                </c:pt>
                <c:pt idx="10">
                  <c:v>30.05.21</c:v>
                </c:pt>
                <c:pt idx="11">
                  <c:v>31.05.21</c:v>
                </c:pt>
                <c:pt idx="12">
                  <c:v>01.06.21</c:v>
                </c:pt>
                <c:pt idx="13">
                  <c:v>02.06.21</c:v>
                </c:pt>
                <c:pt idx="14">
                  <c:v>03.06.21</c:v>
                </c:pt>
                <c:pt idx="15">
                  <c:v>04.06.21</c:v>
                </c:pt>
                <c:pt idx="16">
                  <c:v>05.06.21</c:v>
                </c:pt>
                <c:pt idx="17">
                  <c:v>06.06.21</c:v>
                </c:pt>
                <c:pt idx="18">
                  <c:v>07.06.21</c:v>
                </c:pt>
                <c:pt idx="19">
                  <c:v>08.06.21</c:v>
                </c:pt>
                <c:pt idx="20">
                  <c:v>09.06.21</c:v>
                </c:pt>
                <c:pt idx="21">
                  <c:v>10.06.21</c:v>
                </c:pt>
                <c:pt idx="22">
                  <c:v>11.06.21</c:v>
                </c:pt>
                <c:pt idx="23">
                  <c:v>12.06.21</c:v>
                </c:pt>
                <c:pt idx="24">
                  <c:v>13.06.21</c:v>
                </c:pt>
                <c:pt idx="25">
                  <c:v>14.06.21</c:v>
                </c:pt>
                <c:pt idx="26">
                  <c:v>15.06.21</c:v>
                </c:pt>
                <c:pt idx="27">
                  <c:v>16.06.21</c:v>
                </c:pt>
                <c:pt idx="28">
                  <c:v>17.06.21</c:v>
                </c:pt>
                <c:pt idx="29">
                  <c:v>18.06.21</c:v>
                </c:pt>
                <c:pt idx="30">
                  <c:v>19.06.21</c:v>
                </c:pt>
                <c:pt idx="31">
                  <c:v>20.06.21</c:v>
                </c:pt>
                <c:pt idx="32">
                  <c:v>21.06.21</c:v>
                </c:pt>
                <c:pt idx="33">
                  <c:v>22.06.21</c:v>
                </c:pt>
                <c:pt idx="34">
                  <c:v>23.06.21</c:v>
                </c:pt>
                <c:pt idx="35">
                  <c:v>24.06.21</c:v>
                </c:pt>
                <c:pt idx="36">
                  <c:v>25.06.21</c:v>
                </c:pt>
                <c:pt idx="37">
                  <c:v>26.06.21</c:v>
                </c:pt>
                <c:pt idx="38">
                  <c:v>27.06.21</c:v>
                </c:pt>
                <c:pt idx="39">
                  <c:v>28.06.21</c:v>
                </c:pt>
                <c:pt idx="40">
                  <c:v>29.06.21</c:v>
                </c:pt>
                <c:pt idx="41">
                  <c:v>30.06.21</c:v>
                </c:pt>
                <c:pt idx="42">
                  <c:v>01.07.21</c:v>
                </c:pt>
                <c:pt idx="43">
                  <c:v>02.07.21</c:v>
                </c:pt>
                <c:pt idx="44">
                  <c:v>03.07.21</c:v>
                </c:pt>
                <c:pt idx="45">
                  <c:v>04.07.21</c:v>
                </c:pt>
                <c:pt idx="46">
                  <c:v>05.07.21</c:v>
                </c:pt>
                <c:pt idx="47">
                  <c:v>06.07.21</c:v>
                </c:pt>
                <c:pt idx="48">
                  <c:v>07.07.21</c:v>
                </c:pt>
                <c:pt idx="49">
                  <c:v>08.07.21</c:v>
                </c:pt>
                <c:pt idx="50">
                  <c:v>09.07.21</c:v>
                </c:pt>
                <c:pt idx="51">
                  <c:v>10.07.21</c:v>
                </c:pt>
                <c:pt idx="52">
                  <c:v>11.07.21</c:v>
                </c:pt>
                <c:pt idx="53">
                  <c:v>12.07.21</c:v>
                </c:pt>
                <c:pt idx="54">
                  <c:v>13.07.21</c:v>
                </c:pt>
                <c:pt idx="55">
                  <c:v>14.07.21</c:v>
                </c:pt>
                <c:pt idx="56">
                  <c:v>15.07.21</c:v>
                </c:pt>
                <c:pt idx="57">
                  <c:v>16.07.21</c:v>
                </c:pt>
                <c:pt idx="58">
                  <c:v>17.07.21</c:v>
                </c:pt>
                <c:pt idx="59">
                  <c:v>18.07.21</c:v>
                </c:pt>
                <c:pt idx="60">
                  <c:v>19.07.21</c:v>
                </c:pt>
                <c:pt idx="61">
                  <c:v>20.07.21</c:v>
                </c:pt>
                <c:pt idx="62">
                  <c:v>21.07.21</c:v>
                </c:pt>
                <c:pt idx="63">
                  <c:v>22.07.21</c:v>
                </c:pt>
                <c:pt idx="64">
                  <c:v>23.07.21</c:v>
                </c:pt>
                <c:pt idx="65">
                  <c:v>24.07.21</c:v>
                </c:pt>
                <c:pt idx="66">
                  <c:v>25.07.21</c:v>
                </c:pt>
                <c:pt idx="67">
                  <c:v>26.07.21</c:v>
                </c:pt>
                <c:pt idx="68">
                  <c:v>27.07.21</c:v>
                </c:pt>
                <c:pt idx="69">
                  <c:v>28.07.21</c:v>
                </c:pt>
                <c:pt idx="70">
                  <c:v>29.07.21</c:v>
                </c:pt>
                <c:pt idx="71">
                  <c:v>30.07.21</c:v>
                </c:pt>
                <c:pt idx="72">
                  <c:v>31.07.21</c:v>
                </c:pt>
                <c:pt idx="73">
                  <c:v>01.08.21</c:v>
                </c:pt>
                <c:pt idx="74">
                  <c:v>02.08.21</c:v>
                </c:pt>
                <c:pt idx="75">
                  <c:v>03.08.21</c:v>
                </c:pt>
                <c:pt idx="76">
                  <c:v>04.08.21</c:v>
                </c:pt>
                <c:pt idx="77">
                  <c:v>05.08.21</c:v>
                </c:pt>
                <c:pt idx="78">
                  <c:v>06.08.21</c:v>
                </c:pt>
                <c:pt idx="79">
                  <c:v>07.08.21</c:v>
                </c:pt>
                <c:pt idx="80">
                  <c:v>08.08.21</c:v>
                </c:pt>
                <c:pt idx="81">
                  <c:v>09.08.21</c:v>
                </c:pt>
                <c:pt idx="82">
                  <c:v>10.08.21</c:v>
                </c:pt>
                <c:pt idx="83">
                  <c:v>11.08.21</c:v>
                </c:pt>
                <c:pt idx="84">
                  <c:v>12.08.21</c:v>
                </c:pt>
                <c:pt idx="85">
                  <c:v>13.08.21</c:v>
                </c:pt>
                <c:pt idx="86">
                  <c:v>14.08.21</c:v>
                </c:pt>
                <c:pt idx="87">
                  <c:v>15.08.21</c:v>
                </c:pt>
                <c:pt idx="88">
                  <c:v>16.08.21</c:v>
                </c:pt>
                <c:pt idx="89">
                  <c:v>17.08.21</c:v>
                </c:pt>
                <c:pt idx="90">
                  <c:v>18.08.21</c:v>
                </c:pt>
                <c:pt idx="91">
                  <c:v>19.08.21</c:v>
                </c:pt>
                <c:pt idx="92">
                  <c:v>20.08.21</c:v>
                </c:pt>
                <c:pt idx="93">
                  <c:v>21.08.21</c:v>
                </c:pt>
                <c:pt idx="94">
                  <c:v>22.08.21</c:v>
                </c:pt>
                <c:pt idx="95">
                  <c:v>23.08.21</c:v>
                </c:pt>
                <c:pt idx="96">
                  <c:v>24.08.21</c:v>
                </c:pt>
                <c:pt idx="97">
                  <c:v>25.08.21</c:v>
                </c:pt>
                <c:pt idx="98">
                  <c:v>26.08.21</c:v>
                </c:pt>
                <c:pt idx="99">
                  <c:v>27.08.21</c:v>
                </c:pt>
                <c:pt idx="100">
                  <c:v>28.08.21</c:v>
                </c:pt>
                <c:pt idx="101">
                  <c:v>29.08.21</c:v>
                </c:pt>
                <c:pt idx="102">
                  <c:v>30.08.21</c:v>
                </c:pt>
                <c:pt idx="103">
                  <c:v>31.08.21</c:v>
                </c:pt>
                <c:pt idx="104">
                  <c:v>01.09.21</c:v>
                </c:pt>
                <c:pt idx="105">
                  <c:v>02.09.21</c:v>
                </c:pt>
                <c:pt idx="106">
                  <c:v>03.09.21</c:v>
                </c:pt>
                <c:pt idx="107">
                  <c:v>04.09.21</c:v>
                </c:pt>
                <c:pt idx="108">
                  <c:v>05.09.21</c:v>
                </c:pt>
                <c:pt idx="109">
                  <c:v>06.09.21</c:v>
                </c:pt>
                <c:pt idx="110">
                  <c:v>07.09.21</c:v>
                </c:pt>
                <c:pt idx="111">
                  <c:v>08.09.21</c:v>
                </c:pt>
                <c:pt idx="112">
                  <c:v>09.09.21</c:v>
                </c:pt>
                <c:pt idx="113">
                  <c:v>10.09.21</c:v>
                </c:pt>
                <c:pt idx="114">
                  <c:v>11.09.21</c:v>
                </c:pt>
                <c:pt idx="115">
                  <c:v>12.09.21</c:v>
                </c:pt>
                <c:pt idx="116">
                  <c:v>13.09.21</c:v>
                </c:pt>
                <c:pt idx="117">
                  <c:v>14.09.21</c:v>
                </c:pt>
                <c:pt idx="118">
                  <c:v>15.09.21</c:v>
                </c:pt>
                <c:pt idx="119">
                  <c:v>16.09.21</c:v>
                </c:pt>
                <c:pt idx="120">
                  <c:v>17.09.21</c:v>
                </c:pt>
                <c:pt idx="121">
                  <c:v>18.09.21</c:v>
                </c:pt>
                <c:pt idx="122">
                  <c:v>19.09.21</c:v>
                </c:pt>
                <c:pt idx="123">
                  <c:v>20.09.21</c:v>
                </c:pt>
                <c:pt idx="124">
                  <c:v>21.09.21</c:v>
                </c:pt>
                <c:pt idx="125">
                  <c:v>22.09.21</c:v>
                </c:pt>
                <c:pt idx="126">
                  <c:v>23.09.21</c:v>
                </c:pt>
                <c:pt idx="127">
                  <c:v>24.09.21</c:v>
                </c:pt>
                <c:pt idx="128">
                  <c:v>25.09.21</c:v>
                </c:pt>
                <c:pt idx="129">
                  <c:v>26.09.21</c:v>
                </c:pt>
                <c:pt idx="130">
                  <c:v>27.09.21</c:v>
                </c:pt>
                <c:pt idx="131">
                  <c:v>28.09.21</c:v>
                </c:pt>
                <c:pt idx="132">
                  <c:v>29.09.21</c:v>
                </c:pt>
                <c:pt idx="133">
                  <c:v>30.09.21</c:v>
                </c:pt>
                <c:pt idx="134">
                  <c:v>01.10.21</c:v>
                </c:pt>
                <c:pt idx="135">
                  <c:v>02.10.21</c:v>
                </c:pt>
                <c:pt idx="136">
                  <c:v>03.10.21</c:v>
                </c:pt>
                <c:pt idx="137">
                  <c:v>04.10.21</c:v>
                </c:pt>
                <c:pt idx="138">
                  <c:v>05.10.21</c:v>
                </c:pt>
                <c:pt idx="139">
                  <c:v>06.10.21</c:v>
                </c:pt>
                <c:pt idx="140">
                  <c:v>07.10.21</c:v>
                </c:pt>
                <c:pt idx="141">
                  <c:v>08.10.21</c:v>
                </c:pt>
                <c:pt idx="142">
                  <c:v>09.10.21</c:v>
                </c:pt>
                <c:pt idx="143">
                  <c:v>10.10.21</c:v>
                </c:pt>
                <c:pt idx="144">
                  <c:v>11.10.21</c:v>
                </c:pt>
                <c:pt idx="145">
                  <c:v>12.10.21</c:v>
                </c:pt>
                <c:pt idx="146">
                  <c:v>13.10.21</c:v>
                </c:pt>
                <c:pt idx="147">
                  <c:v>14.10.21</c:v>
                </c:pt>
                <c:pt idx="148">
                  <c:v>15.10.21</c:v>
                </c:pt>
                <c:pt idx="149">
                  <c:v>16.10.21</c:v>
                </c:pt>
                <c:pt idx="150">
                  <c:v>17.10.21</c:v>
                </c:pt>
                <c:pt idx="151">
                  <c:v>18.10.21</c:v>
                </c:pt>
                <c:pt idx="152">
                  <c:v>19.10.21</c:v>
                </c:pt>
                <c:pt idx="153">
                  <c:v>20.10.21</c:v>
                </c:pt>
                <c:pt idx="154">
                  <c:v>21.10.21</c:v>
                </c:pt>
                <c:pt idx="155">
                  <c:v>22.10.21</c:v>
                </c:pt>
                <c:pt idx="156">
                  <c:v>23.10.21</c:v>
                </c:pt>
                <c:pt idx="157">
                  <c:v>24.10.21</c:v>
                </c:pt>
                <c:pt idx="158">
                  <c:v>25.10.21</c:v>
                </c:pt>
                <c:pt idx="159">
                  <c:v>26.10.21</c:v>
                </c:pt>
                <c:pt idx="160">
                  <c:v>27.10.21</c:v>
                </c:pt>
                <c:pt idx="161">
                  <c:v>28.10.21</c:v>
                </c:pt>
                <c:pt idx="162">
                  <c:v>29.10.21</c:v>
                </c:pt>
                <c:pt idx="163">
                  <c:v>30.10.21</c:v>
                </c:pt>
                <c:pt idx="164">
                  <c:v>31.10.21</c:v>
                </c:pt>
                <c:pt idx="165">
                  <c:v>01.11.21</c:v>
                </c:pt>
                <c:pt idx="166">
                  <c:v>02.11.21</c:v>
                </c:pt>
                <c:pt idx="167">
                  <c:v>03.11.21</c:v>
                </c:pt>
                <c:pt idx="168">
                  <c:v>04.11.21</c:v>
                </c:pt>
                <c:pt idx="169">
                  <c:v>05.11.21</c:v>
                </c:pt>
                <c:pt idx="170">
                  <c:v>06.11.21</c:v>
                </c:pt>
                <c:pt idx="171">
                  <c:v>07.11.21</c:v>
                </c:pt>
                <c:pt idx="172">
                  <c:v>08.11.21</c:v>
                </c:pt>
                <c:pt idx="173">
                  <c:v>09.11.21</c:v>
                </c:pt>
                <c:pt idx="174">
                  <c:v>10.11.21</c:v>
                </c:pt>
                <c:pt idx="175">
                  <c:v>11.11.21</c:v>
                </c:pt>
                <c:pt idx="176">
                  <c:v>12.11.21</c:v>
                </c:pt>
                <c:pt idx="177">
                  <c:v>13.11.21</c:v>
                </c:pt>
                <c:pt idx="178">
                  <c:v>14.11.21</c:v>
                </c:pt>
                <c:pt idx="179">
                  <c:v>15.11.21</c:v>
                </c:pt>
                <c:pt idx="180">
                  <c:v>16.11.21</c:v>
                </c:pt>
                <c:pt idx="181">
                  <c:v>17.11.21</c:v>
                </c:pt>
                <c:pt idx="182">
                  <c:v>18.11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6</c:v>
                </c:pt>
                <c:pt idx="1">
                  <c:v>4</c:v>
                </c:pt>
                <c:pt idx="2">
                  <c:v>1</c:v>
                </c:pt>
                <c:pt idx="3">
                  <c:v>0</c:v>
                </c:pt>
                <c:pt idx="4">
                  <c:v>6</c:v>
                </c:pt>
                <c:pt idx="5">
                  <c:v>0</c:v>
                </c:pt>
                <c:pt idx="6">
                  <c:v>6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0">
                  <c:v>0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2</c:v>
                </c:pt>
                <c:pt idx="19">
                  <c:v>1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1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1</c:v>
                </c:pt>
                <c:pt idx="28">
                  <c:v>2</c:v>
                </c:pt>
                <c:pt idx="29">
                  <c:v>0</c:v>
                </c:pt>
                <c:pt idx="30">
                  <c:v>1</c:v>
                </c:pt>
                <c:pt idx="31">
                  <c:v>1</c:v>
                </c:pt>
                <c:pt idx="32">
                  <c:v>0</c:v>
                </c:pt>
                <c:pt idx="33">
                  <c:v>0</c:v>
                </c:pt>
                <c:pt idx="34">
                  <c:v>2</c:v>
                </c:pt>
                <c:pt idx="35">
                  <c:v>2</c:v>
                </c:pt>
                <c:pt idx="36">
                  <c:v>0</c:v>
                </c:pt>
                <c:pt idx="37">
                  <c:v>1</c:v>
                </c:pt>
                <c:pt idx="38">
                  <c:v>2</c:v>
                </c:pt>
                <c:pt idx="39">
                  <c:v>0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1</c:v>
                </c:pt>
                <c:pt idx="49">
                  <c:v>4</c:v>
                </c:pt>
                <c:pt idx="50">
                  <c:v>4</c:v>
                </c:pt>
                <c:pt idx="51">
                  <c:v>0</c:v>
                </c:pt>
                <c:pt idx="52">
                  <c:v>0</c:v>
                </c:pt>
                <c:pt idx="53">
                  <c:v>3</c:v>
                </c:pt>
                <c:pt idx="54">
                  <c:v>0</c:v>
                </c:pt>
                <c:pt idx="55">
                  <c:v>4</c:v>
                </c:pt>
                <c:pt idx="56">
                  <c:v>2</c:v>
                </c:pt>
                <c:pt idx="57">
                  <c:v>5</c:v>
                </c:pt>
                <c:pt idx="58">
                  <c:v>1</c:v>
                </c:pt>
                <c:pt idx="59">
                  <c:v>1</c:v>
                </c:pt>
                <c:pt idx="60">
                  <c:v>3</c:v>
                </c:pt>
                <c:pt idx="61">
                  <c:v>5</c:v>
                </c:pt>
                <c:pt idx="62">
                  <c:v>1</c:v>
                </c:pt>
                <c:pt idx="63">
                  <c:v>3</c:v>
                </c:pt>
                <c:pt idx="64">
                  <c:v>2</c:v>
                </c:pt>
                <c:pt idx="65">
                  <c:v>0</c:v>
                </c:pt>
                <c:pt idx="66">
                  <c:v>1</c:v>
                </c:pt>
                <c:pt idx="67">
                  <c:v>3</c:v>
                </c:pt>
                <c:pt idx="68">
                  <c:v>4</c:v>
                </c:pt>
                <c:pt idx="69">
                  <c:v>1</c:v>
                </c:pt>
                <c:pt idx="70">
                  <c:v>3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1</c:v>
                </c:pt>
                <c:pt idx="78">
                  <c:v>2</c:v>
                </c:pt>
                <c:pt idx="79">
                  <c:v>1</c:v>
                </c:pt>
                <c:pt idx="80">
                  <c:v>0</c:v>
                </c:pt>
                <c:pt idx="81">
                  <c:v>7</c:v>
                </c:pt>
                <c:pt idx="82">
                  <c:v>1</c:v>
                </c:pt>
                <c:pt idx="83">
                  <c:v>1</c:v>
                </c:pt>
                <c:pt idx="84">
                  <c:v>2</c:v>
                </c:pt>
                <c:pt idx="85">
                  <c:v>5</c:v>
                </c:pt>
                <c:pt idx="86">
                  <c:v>2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0</c:v>
                </c:pt>
                <c:pt idx="92">
                  <c:v>3</c:v>
                </c:pt>
                <c:pt idx="93">
                  <c:v>2</c:v>
                </c:pt>
                <c:pt idx="94">
                  <c:v>2</c:v>
                </c:pt>
                <c:pt idx="95">
                  <c:v>1</c:v>
                </c:pt>
                <c:pt idx="96">
                  <c:v>3</c:v>
                </c:pt>
                <c:pt idx="97">
                  <c:v>5</c:v>
                </c:pt>
                <c:pt idx="98">
                  <c:v>2</c:v>
                </c:pt>
                <c:pt idx="99">
                  <c:v>2</c:v>
                </c:pt>
                <c:pt idx="100">
                  <c:v>0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3</c:v>
                </c:pt>
                <c:pt idx="105">
                  <c:v>4</c:v>
                </c:pt>
                <c:pt idx="106">
                  <c:v>6</c:v>
                </c:pt>
                <c:pt idx="107">
                  <c:v>5</c:v>
                </c:pt>
                <c:pt idx="108">
                  <c:v>1</c:v>
                </c:pt>
                <c:pt idx="109">
                  <c:v>5</c:v>
                </c:pt>
                <c:pt idx="110">
                  <c:v>4</c:v>
                </c:pt>
                <c:pt idx="111">
                  <c:v>1</c:v>
                </c:pt>
                <c:pt idx="112">
                  <c:v>3</c:v>
                </c:pt>
                <c:pt idx="113">
                  <c:v>2</c:v>
                </c:pt>
                <c:pt idx="114">
                  <c:v>0</c:v>
                </c:pt>
                <c:pt idx="115">
                  <c:v>3</c:v>
                </c:pt>
                <c:pt idx="116">
                  <c:v>2</c:v>
                </c:pt>
                <c:pt idx="117">
                  <c:v>3</c:v>
                </c:pt>
                <c:pt idx="118">
                  <c:v>5</c:v>
                </c:pt>
                <c:pt idx="119">
                  <c:v>7</c:v>
                </c:pt>
                <c:pt idx="120">
                  <c:v>4</c:v>
                </c:pt>
                <c:pt idx="121">
                  <c:v>2</c:v>
                </c:pt>
                <c:pt idx="122">
                  <c:v>5</c:v>
                </c:pt>
                <c:pt idx="123">
                  <c:v>8</c:v>
                </c:pt>
                <c:pt idx="124">
                  <c:v>9</c:v>
                </c:pt>
                <c:pt idx="125">
                  <c:v>8</c:v>
                </c:pt>
                <c:pt idx="126">
                  <c:v>5</c:v>
                </c:pt>
                <c:pt idx="127">
                  <c:v>4</c:v>
                </c:pt>
                <c:pt idx="128">
                  <c:v>4</c:v>
                </c:pt>
                <c:pt idx="129">
                  <c:v>2</c:v>
                </c:pt>
                <c:pt idx="130">
                  <c:v>7</c:v>
                </c:pt>
                <c:pt idx="131">
                  <c:v>6</c:v>
                </c:pt>
                <c:pt idx="132">
                  <c:v>8</c:v>
                </c:pt>
                <c:pt idx="133">
                  <c:v>12</c:v>
                </c:pt>
                <c:pt idx="134">
                  <c:v>8</c:v>
                </c:pt>
                <c:pt idx="135">
                  <c:v>4</c:v>
                </c:pt>
                <c:pt idx="136">
                  <c:v>7</c:v>
                </c:pt>
                <c:pt idx="137">
                  <c:v>7</c:v>
                </c:pt>
                <c:pt idx="138">
                  <c:v>12</c:v>
                </c:pt>
                <c:pt idx="139">
                  <c:v>13</c:v>
                </c:pt>
                <c:pt idx="140">
                  <c:v>15</c:v>
                </c:pt>
                <c:pt idx="141">
                  <c:v>8</c:v>
                </c:pt>
                <c:pt idx="142">
                  <c:v>7</c:v>
                </c:pt>
                <c:pt idx="143">
                  <c:v>5</c:v>
                </c:pt>
                <c:pt idx="144">
                  <c:v>19</c:v>
                </c:pt>
                <c:pt idx="145">
                  <c:v>31</c:v>
                </c:pt>
                <c:pt idx="146">
                  <c:v>18</c:v>
                </c:pt>
                <c:pt idx="147">
                  <c:v>17</c:v>
                </c:pt>
                <c:pt idx="148">
                  <c:v>14</c:v>
                </c:pt>
                <c:pt idx="149">
                  <c:v>9</c:v>
                </c:pt>
                <c:pt idx="150">
                  <c:v>13</c:v>
                </c:pt>
                <c:pt idx="151">
                  <c:v>38</c:v>
                </c:pt>
                <c:pt idx="152">
                  <c:v>53</c:v>
                </c:pt>
                <c:pt idx="153">
                  <c:v>48</c:v>
                </c:pt>
                <c:pt idx="154">
                  <c:v>53</c:v>
                </c:pt>
                <c:pt idx="155">
                  <c:v>42</c:v>
                </c:pt>
                <c:pt idx="156">
                  <c:v>27</c:v>
                </c:pt>
                <c:pt idx="157">
                  <c:v>19</c:v>
                </c:pt>
                <c:pt idx="158">
                  <c:v>73</c:v>
                </c:pt>
                <c:pt idx="159">
                  <c:v>80</c:v>
                </c:pt>
                <c:pt idx="160">
                  <c:v>63</c:v>
                </c:pt>
                <c:pt idx="161">
                  <c:v>38</c:v>
                </c:pt>
                <c:pt idx="162">
                  <c:v>78</c:v>
                </c:pt>
                <c:pt idx="163">
                  <c:v>50</c:v>
                </c:pt>
                <c:pt idx="164">
                  <c:v>40</c:v>
                </c:pt>
                <c:pt idx="165">
                  <c:v>129</c:v>
                </c:pt>
                <c:pt idx="166">
                  <c:v>129</c:v>
                </c:pt>
                <c:pt idx="167">
                  <c:v>100</c:v>
                </c:pt>
                <c:pt idx="168">
                  <c:v>105</c:v>
                </c:pt>
                <c:pt idx="169">
                  <c:v>126</c:v>
                </c:pt>
                <c:pt idx="170">
                  <c:v>53</c:v>
                </c:pt>
                <c:pt idx="171">
                  <c:v>37</c:v>
                </c:pt>
                <c:pt idx="172">
                  <c:v>127</c:v>
                </c:pt>
                <c:pt idx="173">
                  <c:v>138</c:v>
                </c:pt>
                <c:pt idx="174">
                  <c:v>139</c:v>
                </c:pt>
                <c:pt idx="175">
                  <c:v>113</c:v>
                </c:pt>
                <c:pt idx="176">
                  <c:v>158</c:v>
                </c:pt>
                <c:pt idx="177">
                  <c:v>93</c:v>
                </c:pt>
                <c:pt idx="178">
                  <c:v>48</c:v>
                </c:pt>
                <c:pt idx="179">
                  <c:v>154</c:v>
                </c:pt>
                <c:pt idx="180">
                  <c:v>174</c:v>
                </c:pt>
                <c:pt idx="181">
                  <c:v>123</c:v>
                </c:pt>
                <c:pt idx="182">
                  <c:v>1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0.05.21</c:v>
                </c:pt>
                <c:pt idx="1">
                  <c:v>21.05.21</c:v>
                </c:pt>
                <c:pt idx="2">
                  <c:v>22.05.21</c:v>
                </c:pt>
                <c:pt idx="3">
                  <c:v>23.05.21</c:v>
                </c:pt>
                <c:pt idx="4">
                  <c:v>24.05.21</c:v>
                </c:pt>
                <c:pt idx="5">
                  <c:v>25.05.21</c:v>
                </c:pt>
                <c:pt idx="6">
                  <c:v>26.05.21</c:v>
                </c:pt>
                <c:pt idx="7">
                  <c:v>27.05.21</c:v>
                </c:pt>
                <c:pt idx="8">
                  <c:v>28.05.21</c:v>
                </c:pt>
                <c:pt idx="9">
                  <c:v>29.05.21</c:v>
                </c:pt>
                <c:pt idx="10">
                  <c:v>30.05.21</c:v>
                </c:pt>
                <c:pt idx="11">
                  <c:v>31.05.21</c:v>
                </c:pt>
                <c:pt idx="12">
                  <c:v>01.06.21</c:v>
                </c:pt>
                <c:pt idx="13">
                  <c:v>02.06.21</c:v>
                </c:pt>
                <c:pt idx="14">
                  <c:v>03.06.21</c:v>
                </c:pt>
                <c:pt idx="15">
                  <c:v>04.06.21</c:v>
                </c:pt>
                <c:pt idx="16">
                  <c:v>05.06.21</c:v>
                </c:pt>
                <c:pt idx="17">
                  <c:v>06.06.21</c:v>
                </c:pt>
                <c:pt idx="18">
                  <c:v>07.06.21</c:v>
                </c:pt>
                <c:pt idx="19">
                  <c:v>08.06.21</c:v>
                </c:pt>
                <c:pt idx="20">
                  <c:v>09.06.21</c:v>
                </c:pt>
                <c:pt idx="21">
                  <c:v>10.06.21</c:v>
                </c:pt>
                <c:pt idx="22">
                  <c:v>11.06.21</c:v>
                </c:pt>
                <c:pt idx="23">
                  <c:v>12.06.21</c:v>
                </c:pt>
                <c:pt idx="24">
                  <c:v>13.06.21</c:v>
                </c:pt>
                <c:pt idx="25">
                  <c:v>14.06.21</c:v>
                </c:pt>
                <c:pt idx="26">
                  <c:v>15.06.21</c:v>
                </c:pt>
                <c:pt idx="27">
                  <c:v>16.06.21</c:v>
                </c:pt>
                <c:pt idx="28">
                  <c:v>17.06.21</c:v>
                </c:pt>
                <c:pt idx="29">
                  <c:v>18.06.21</c:v>
                </c:pt>
                <c:pt idx="30">
                  <c:v>19.06.21</c:v>
                </c:pt>
                <c:pt idx="31">
                  <c:v>20.06.21</c:v>
                </c:pt>
                <c:pt idx="32">
                  <c:v>21.06.21</c:v>
                </c:pt>
                <c:pt idx="33">
                  <c:v>22.06.21</c:v>
                </c:pt>
                <c:pt idx="34">
                  <c:v>23.06.21</c:v>
                </c:pt>
                <c:pt idx="35">
                  <c:v>24.06.21</c:v>
                </c:pt>
                <c:pt idx="36">
                  <c:v>25.06.21</c:v>
                </c:pt>
                <c:pt idx="37">
                  <c:v>26.06.21</c:v>
                </c:pt>
                <c:pt idx="38">
                  <c:v>27.06.21</c:v>
                </c:pt>
                <c:pt idx="39">
                  <c:v>28.06.21</c:v>
                </c:pt>
                <c:pt idx="40">
                  <c:v>29.06.21</c:v>
                </c:pt>
                <c:pt idx="41">
                  <c:v>30.06.21</c:v>
                </c:pt>
                <c:pt idx="42">
                  <c:v>01.07.21</c:v>
                </c:pt>
                <c:pt idx="43">
                  <c:v>02.07.21</c:v>
                </c:pt>
                <c:pt idx="44">
                  <c:v>03.07.21</c:v>
                </c:pt>
                <c:pt idx="45">
                  <c:v>04.07.21</c:v>
                </c:pt>
                <c:pt idx="46">
                  <c:v>05.07.21</c:v>
                </c:pt>
                <c:pt idx="47">
                  <c:v>06.07.21</c:v>
                </c:pt>
                <c:pt idx="48">
                  <c:v>07.07.21</c:v>
                </c:pt>
                <c:pt idx="49">
                  <c:v>08.07.21</c:v>
                </c:pt>
                <c:pt idx="50">
                  <c:v>09.07.21</c:v>
                </c:pt>
                <c:pt idx="51">
                  <c:v>10.07.21</c:v>
                </c:pt>
                <c:pt idx="52">
                  <c:v>11.07.21</c:v>
                </c:pt>
                <c:pt idx="53">
                  <c:v>12.07.21</c:v>
                </c:pt>
                <c:pt idx="54">
                  <c:v>13.07.21</c:v>
                </c:pt>
                <c:pt idx="55">
                  <c:v>14.07.21</c:v>
                </c:pt>
                <c:pt idx="56">
                  <c:v>15.07.21</c:v>
                </c:pt>
                <c:pt idx="57">
                  <c:v>16.07.21</c:v>
                </c:pt>
                <c:pt idx="58">
                  <c:v>17.07.21</c:v>
                </c:pt>
                <c:pt idx="59">
                  <c:v>18.07.21</c:v>
                </c:pt>
                <c:pt idx="60">
                  <c:v>19.07.21</c:v>
                </c:pt>
                <c:pt idx="61">
                  <c:v>20.07.21</c:v>
                </c:pt>
                <c:pt idx="62">
                  <c:v>21.07.21</c:v>
                </c:pt>
                <c:pt idx="63">
                  <c:v>22.07.21</c:v>
                </c:pt>
                <c:pt idx="64">
                  <c:v>23.07.21</c:v>
                </c:pt>
                <c:pt idx="65">
                  <c:v>24.07.21</c:v>
                </c:pt>
                <c:pt idx="66">
                  <c:v>25.07.21</c:v>
                </c:pt>
                <c:pt idx="67">
                  <c:v>26.07.21</c:v>
                </c:pt>
                <c:pt idx="68">
                  <c:v>27.07.21</c:v>
                </c:pt>
                <c:pt idx="69">
                  <c:v>28.07.21</c:v>
                </c:pt>
                <c:pt idx="70">
                  <c:v>29.07.21</c:v>
                </c:pt>
                <c:pt idx="71">
                  <c:v>30.07.21</c:v>
                </c:pt>
                <c:pt idx="72">
                  <c:v>31.07.21</c:v>
                </c:pt>
                <c:pt idx="73">
                  <c:v>01.08.21</c:v>
                </c:pt>
                <c:pt idx="74">
                  <c:v>02.08.21</c:v>
                </c:pt>
                <c:pt idx="75">
                  <c:v>03.08.21</c:v>
                </c:pt>
                <c:pt idx="76">
                  <c:v>04.08.21</c:v>
                </c:pt>
                <c:pt idx="77">
                  <c:v>05.08.21</c:v>
                </c:pt>
                <c:pt idx="78">
                  <c:v>06.08.21</c:v>
                </c:pt>
                <c:pt idx="79">
                  <c:v>07.08.21</c:v>
                </c:pt>
                <c:pt idx="80">
                  <c:v>08.08.21</c:v>
                </c:pt>
                <c:pt idx="81">
                  <c:v>09.08.21</c:v>
                </c:pt>
                <c:pt idx="82">
                  <c:v>10.08.21</c:v>
                </c:pt>
                <c:pt idx="83">
                  <c:v>11.08.21</c:v>
                </c:pt>
                <c:pt idx="84">
                  <c:v>12.08.21</c:v>
                </c:pt>
                <c:pt idx="85">
                  <c:v>13.08.21</c:v>
                </c:pt>
                <c:pt idx="86">
                  <c:v>14.08.21</c:v>
                </c:pt>
                <c:pt idx="87">
                  <c:v>15.08.21</c:v>
                </c:pt>
                <c:pt idx="88">
                  <c:v>16.08.21</c:v>
                </c:pt>
                <c:pt idx="89">
                  <c:v>17.08.21</c:v>
                </c:pt>
                <c:pt idx="90">
                  <c:v>18.08.21</c:v>
                </c:pt>
                <c:pt idx="91">
                  <c:v>19.08.21</c:v>
                </c:pt>
                <c:pt idx="92">
                  <c:v>20.08.21</c:v>
                </c:pt>
                <c:pt idx="93">
                  <c:v>21.08.21</c:v>
                </c:pt>
                <c:pt idx="94">
                  <c:v>22.08.21</c:v>
                </c:pt>
                <c:pt idx="95">
                  <c:v>23.08.21</c:v>
                </c:pt>
                <c:pt idx="96">
                  <c:v>24.08.21</c:v>
                </c:pt>
                <c:pt idx="97">
                  <c:v>25.08.21</c:v>
                </c:pt>
                <c:pt idx="98">
                  <c:v>26.08.21</c:v>
                </c:pt>
                <c:pt idx="99">
                  <c:v>27.08.21</c:v>
                </c:pt>
                <c:pt idx="100">
                  <c:v>28.08.21</c:v>
                </c:pt>
                <c:pt idx="101">
                  <c:v>29.08.21</c:v>
                </c:pt>
                <c:pt idx="102">
                  <c:v>30.08.21</c:v>
                </c:pt>
                <c:pt idx="103">
                  <c:v>31.08.21</c:v>
                </c:pt>
                <c:pt idx="104">
                  <c:v>01.09.21</c:v>
                </c:pt>
                <c:pt idx="105">
                  <c:v>02.09.21</c:v>
                </c:pt>
                <c:pt idx="106">
                  <c:v>03.09.21</c:v>
                </c:pt>
                <c:pt idx="107">
                  <c:v>04.09.21</c:v>
                </c:pt>
                <c:pt idx="108">
                  <c:v>05.09.21</c:v>
                </c:pt>
                <c:pt idx="109">
                  <c:v>06.09.21</c:v>
                </c:pt>
                <c:pt idx="110">
                  <c:v>07.09.21</c:v>
                </c:pt>
                <c:pt idx="111">
                  <c:v>08.09.21</c:v>
                </c:pt>
                <c:pt idx="112">
                  <c:v>09.09.21</c:v>
                </c:pt>
                <c:pt idx="113">
                  <c:v>10.09.21</c:v>
                </c:pt>
                <c:pt idx="114">
                  <c:v>11.09.21</c:v>
                </c:pt>
                <c:pt idx="115">
                  <c:v>12.09.21</c:v>
                </c:pt>
                <c:pt idx="116">
                  <c:v>13.09.21</c:v>
                </c:pt>
                <c:pt idx="117">
                  <c:v>14.09.21</c:v>
                </c:pt>
                <c:pt idx="118">
                  <c:v>15.09.21</c:v>
                </c:pt>
                <c:pt idx="119">
                  <c:v>16.09.21</c:v>
                </c:pt>
                <c:pt idx="120">
                  <c:v>17.09.21</c:v>
                </c:pt>
                <c:pt idx="121">
                  <c:v>18.09.21</c:v>
                </c:pt>
                <c:pt idx="122">
                  <c:v>19.09.21</c:v>
                </c:pt>
                <c:pt idx="123">
                  <c:v>20.09.21</c:v>
                </c:pt>
                <c:pt idx="124">
                  <c:v>21.09.21</c:v>
                </c:pt>
                <c:pt idx="125">
                  <c:v>22.09.21</c:v>
                </c:pt>
                <c:pt idx="126">
                  <c:v>23.09.21</c:v>
                </c:pt>
                <c:pt idx="127">
                  <c:v>24.09.21</c:v>
                </c:pt>
                <c:pt idx="128">
                  <c:v>25.09.21</c:v>
                </c:pt>
                <c:pt idx="129">
                  <c:v>26.09.21</c:v>
                </c:pt>
                <c:pt idx="130">
                  <c:v>27.09.21</c:v>
                </c:pt>
                <c:pt idx="131">
                  <c:v>28.09.21</c:v>
                </c:pt>
                <c:pt idx="132">
                  <c:v>29.09.21</c:v>
                </c:pt>
                <c:pt idx="133">
                  <c:v>30.09.21</c:v>
                </c:pt>
                <c:pt idx="134">
                  <c:v>01.10.21</c:v>
                </c:pt>
                <c:pt idx="135">
                  <c:v>02.10.21</c:v>
                </c:pt>
                <c:pt idx="136">
                  <c:v>03.10.21</c:v>
                </c:pt>
                <c:pt idx="137">
                  <c:v>04.10.21</c:v>
                </c:pt>
                <c:pt idx="138">
                  <c:v>05.10.21</c:v>
                </c:pt>
                <c:pt idx="139">
                  <c:v>06.10.21</c:v>
                </c:pt>
                <c:pt idx="140">
                  <c:v>07.10.21</c:v>
                </c:pt>
                <c:pt idx="141">
                  <c:v>08.10.21</c:v>
                </c:pt>
                <c:pt idx="142">
                  <c:v>09.10.21</c:v>
                </c:pt>
                <c:pt idx="143">
                  <c:v>10.10.21</c:v>
                </c:pt>
                <c:pt idx="144">
                  <c:v>11.10.21</c:v>
                </c:pt>
                <c:pt idx="145">
                  <c:v>12.10.21</c:v>
                </c:pt>
                <c:pt idx="146">
                  <c:v>13.10.21</c:v>
                </c:pt>
                <c:pt idx="147">
                  <c:v>14.10.21</c:v>
                </c:pt>
                <c:pt idx="148">
                  <c:v>15.10.21</c:v>
                </c:pt>
                <c:pt idx="149">
                  <c:v>16.10.21</c:v>
                </c:pt>
                <c:pt idx="150">
                  <c:v>17.10.21</c:v>
                </c:pt>
                <c:pt idx="151">
                  <c:v>18.10.21</c:v>
                </c:pt>
                <c:pt idx="152">
                  <c:v>19.10.21</c:v>
                </c:pt>
                <c:pt idx="153">
                  <c:v>20.10.21</c:v>
                </c:pt>
                <c:pt idx="154">
                  <c:v>21.10.21</c:v>
                </c:pt>
                <c:pt idx="155">
                  <c:v>22.10.21</c:v>
                </c:pt>
                <c:pt idx="156">
                  <c:v>23.10.21</c:v>
                </c:pt>
                <c:pt idx="157">
                  <c:v>24.10.21</c:v>
                </c:pt>
                <c:pt idx="158">
                  <c:v>25.10.21</c:v>
                </c:pt>
                <c:pt idx="159">
                  <c:v>26.10.21</c:v>
                </c:pt>
                <c:pt idx="160">
                  <c:v>27.10.21</c:v>
                </c:pt>
                <c:pt idx="161">
                  <c:v>28.10.21</c:v>
                </c:pt>
                <c:pt idx="162">
                  <c:v>29.10.21</c:v>
                </c:pt>
                <c:pt idx="163">
                  <c:v>30.10.21</c:v>
                </c:pt>
                <c:pt idx="164">
                  <c:v>31.10.21</c:v>
                </c:pt>
                <c:pt idx="165">
                  <c:v>01.11.21</c:v>
                </c:pt>
                <c:pt idx="166">
                  <c:v>02.11.21</c:v>
                </c:pt>
                <c:pt idx="167">
                  <c:v>03.11.21</c:v>
                </c:pt>
                <c:pt idx="168">
                  <c:v>04.11.21</c:v>
                </c:pt>
                <c:pt idx="169">
                  <c:v>05.11.21</c:v>
                </c:pt>
                <c:pt idx="170">
                  <c:v>06.11.21</c:v>
                </c:pt>
                <c:pt idx="171">
                  <c:v>07.11.21</c:v>
                </c:pt>
                <c:pt idx="172">
                  <c:v>08.11.21</c:v>
                </c:pt>
                <c:pt idx="173">
                  <c:v>09.11.21</c:v>
                </c:pt>
                <c:pt idx="174">
                  <c:v>10.11.21</c:v>
                </c:pt>
                <c:pt idx="175">
                  <c:v>11.11.21</c:v>
                </c:pt>
                <c:pt idx="176">
                  <c:v>12.11.21</c:v>
                </c:pt>
                <c:pt idx="177">
                  <c:v>13.11.21</c:v>
                </c:pt>
                <c:pt idx="178">
                  <c:v>14.11.21</c:v>
                </c:pt>
                <c:pt idx="179">
                  <c:v>15.11.21</c:v>
                </c:pt>
                <c:pt idx="180">
                  <c:v>16.11.21</c:v>
                </c:pt>
                <c:pt idx="181">
                  <c:v>17.11.21</c:v>
                </c:pt>
                <c:pt idx="182">
                  <c:v>18.11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22</c:v>
                </c:pt>
                <c:pt idx="1">
                  <c:v>22</c:v>
                </c:pt>
                <c:pt idx="2">
                  <c:v>23</c:v>
                </c:pt>
                <c:pt idx="3">
                  <c:v>23</c:v>
                </c:pt>
                <c:pt idx="4">
                  <c:v>22</c:v>
                </c:pt>
                <c:pt idx="5">
                  <c:v>21</c:v>
                </c:pt>
                <c:pt idx="6">
                  <c:v>22</c:v>
                </c:pt>
                <c:pt idx="7">
                  <c:v>20</c:v>
                </c:pt>
                <c:pt idx="8">
                  <c:v>19</c:v>
                </c:pt>
                <c:pt idx="9">
                  <c:v>18</c:v>
                </c:pt>
                <c:pt idx="10">
                  <c:v>19</c:v>
                </c:pt>
                <c:pt idx="11">
                  <c:v>17</c:v>
                </c:pt>
                <c:pt idx="12">
                  <c:v>17</c:v>
                </c:pt>
                <c:pt idx="13">
                  <c:v>15</c:v>
                </c:pt>
                <c:pt idx="14">
                  <c:v>14</c:v>
                </c:pt>
                <c:pt idx="15">
                  <c:v>12</c:v>
                </c:pt>
                <c:pt idx="16">
                  <c:v>11</c:v>
                </c:pt>
                <c:pt idx="17">
                  <c:v>11</c:v>
                </c:pt>
                <c:pt idx="18">
                  <c:v>10</c:v>
                </c:pt>
                <c:pt idx="19">
                  <c:v>9</c:v>
                </c:pt>
                <c:pt idx="20">
                  <c:v>7</c:v>
                </c:pt>
                <c:pt idx="21">
                  <c:v>4</c:v>
                </c:pt>
                <c:pt idx="22">
                  <c:v>4</c:v>
                </c:pt>
                <c:pt idx="23">
                  <c:v>3</c:v>
                </c:pt>
                <c:pt idx="24">
                  <c:v>0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5</c:v>
                </c:pt>
                <c:pt idx="51">
                  <c:v>5</c:v>
                </c:pt>
                <c:pt idx="52">
                  <c:v>5</c:v>
                </c:pt>
                <c:pt idx="53">
                  <c:v>7</c:v>
                </c:pt>
                <c:pt idx="54">
                  <c:v>8</c:v>
                </c:pt>
                <c:pt idx="55">
                  <c:v>7</c:v>
                </c:pt>
                <c:pt idx="56">
                  <c:v>7</c:v>
                </c:pt>
                <c:pt idx="57">
                  <c:v>10</c:v>
                </c:pt>
                <c:pt idx="58">
                  <c:v>12</c:v>
                </c:pt>
                <c:pt idx="59">
                  <c:v>12</c:v>
                </c:pt>
                <c:pt idx="60">
                  <c:v>14</c:v>
                </c:pt>
                <c:pt idx="61">
                  <c:v>16</c:v>
                </c:pt>
                <c:pt idx="62">
                  <c:v>18</c:v>
                </c:pt>
                <c:pt idx="63">
                  <c:v>21</c:v>
                </c:pt>
                <c:pt idx="64">
                  <c:v>20</c:v>
                </c:pt>
                <c:pt idx="65">
                  <c:v>20</c:v>
                </c:pt>
                <c:pt idx="66">
                  <c:v>21</c:v>
                </c:pt>
                <c:pt idx="67">
                  <c:v>21</c:v>
                </c:pt>
                <c:pt idx="68">
                  <c:v>22</c:v>
                </c:pt>
                <c:pt idx="69">
                  <c:v>23</c:v>
                </c:pt>
                <c:pt idx="70">
                  <c:v>24</c:v>
                </c:pt>
                <c:pt idx="71">
                  <c:v>22</c:v>
                </c:pt>
                <c:pt idx="72">
                  <c:v>21</c:v>
                </c:pt>
                <c:pt idx="73">
                  <c:v>20</c:v>
                </c:pt>
                <c:pt idx="74">
                  <c:v>18</c:v>
                </c:pt>
                <c:pt idx="75">
                  <c:v>16</c:v>
                </c:pt>
                <c:pt idx="76">
                  <c:v>19</c:v>
                </c:pt>
                <c:pt idx="77">
                  <c:v>17</c:v>
                </c:pt>
                <c:pt idx="78">
                  <c:v>19</c:v>
                </c:pt>
                <c:pt idx="79">
                  <c:v>16</c:v>
                </c:pt>
                <c:pt idx="80">
                  <c:v>18</c:v>
                </c:pt>
                <c:pt idx="81">
                  <c:v>18</c:v>
                </c:pt>
                <c:pt idx="82">
                  <c:v>18</c:v>
                </c:pt>
                <c:pt idx="83">
                  <c:v>18</c:v>
                </c:pt>
                <c:pt idx="84">
                  <c:v>19</c:v>
                </c:pt>
                <c:pt idx="85">
                  <c:v>19</c:v>
                </c:pt>
                <c:pt idx="86">
                  <c:v>19</c:v>
                </c:pt>
                <c:pt idx="87">
                  <c:v>19</c:v>
                </c:pt>
                <c:pt idx="88">
                  <c:v>22</c:v>
                </c:pt>
                <c:pt idx="89">
                  <c:v>19</c:v>
                </c:pt>
                <c:pt idx="90">
                  <c:v>16</c:v>
                </c:pt>
                <c:pt idx="91">
                  <c:v>16</c:v>
                </c:pt>
                <c:pt idx="92">
                  <c:v>15</c:v>
                </c:pt>
                <c:pt idx="93">
                  <c:v>14</c:v>
                </c:pt>
                <c:pt idx="94">
                  <c:v>12</c:v>
                </c:pt>
                <c:pt idx="95">
                  <c:v>13</c:v>
                </c:pt>
                <c:pt idx="96">
                  <c:v>12</c:v>
                </c:pt>
                <c:pt idx="97">
                  <c:v>10</c:v>
                </c:pt>
                <c:pt idx="98">
                  <c:v>11</c:v>
                </c:pt>
                <c:pt idx="99">
                  <c:v>11</c:v>
                </c:pt>
                <c:pt idx="100">
                  <c:v>12</c:v>
                </c:pt>
                <c:pt idx="101">
                  <c:v>11</c:v>
                </c:pt>
                <c:pt idx="102">
                  <c:v>9</c:v>
                </c:pt>
                <c:pt idx="103">
                  <c:v>13</c:v>
                </c:pt>
                <c:pt idx="104">
                  <c:v>16</c:v>
                </c:pt>
                <c:pt idx="105">
                  <c:v>17</c:v>
                </c:pt>
                <c:pt idx="106">
                  <c:v>17</c:v>
                </c:pt>
                <c:pt idx="107">
                  <c:v>20</c:v>
                </c:pt>
                <c:pt idx="108">
                  <c:v>21</c:v>
                </c:pt>
                <c:pt idx="109">
                  <c:v>19</c:v>
                </c:pt>
                <c:pt idx="110">
                  <c:v>20</c:v>
                </c:pt>
                <c:pt idx="111">
                  <c:v>19</c:v>
                </c:pt>
                <c:pt idx="112">
                  <c:v>19</c:v>
                </c:pt>
                <c:pt idx="113">
                  <c:v>20</c:v>
                </c:pt>
                <c:pt idx="114">
                  <c:v>23</c:v>
                </c:pt>
                <c:pt idx="115">
                  <c:v>22</c:v>
                </c:pt>
                <c:pt idx="116">
                  <c:v>24</c:v>
                </c:pt>
                <c:pt idx="117">
                  <c:v>23</c:v>
                </c:pt>
                <c:pt idx="118">
                  <c:v>20</c:v>
                </c:pt>
                <c:pt idx="119">
                  <c:v>21</c:v>
                </c:pt>
                <c:pt idx="120">
                  <c:v>21</c:v>
                </c:pt>
                <c:pt idx="121">
                  <c:v>20</c:v>
                </c:pt>
                <c:pt idx="122">
                  <c:v>20</c:v>
                </c:pt>
                <c:pt idx="123">
                  <c:v>18</c:v>
                </c:pt>
                <c:pt idx="124">
                  <c:v>21</c:v>
                </c:pt>
                <c:pt idx="125">
                  <c:v>24</c:v>
                </c:pt>
                <c:pt idx="126">
                  <c:v>24</c:v>
                </c:pt>
                <c:pt idx="127">
                  <c:v>25</c:v>
                </c:pt>
                <c:pt idx="128">
                  <c:v>23</c:v>
                </c:pt>
                <c:pt idx="129">
                  <c:v>23</c:v>
                </c:pt>
                <c:pt idx="130">
                  <c:v>25</c:v>
                </c:pt>
                <c:pt idx="131">
                  <c:v>29</c:v>
                </c:pt>
                <c:pt idx="132">
                  <c:v>32</c:v>
                </c:pt>
                <c:pt idx="133">
                  <c:v>40</c:v>
                </c:pt>
                <c:pt idx="134">
                  <c:v>41</c:v>
                </c:pt>
                <c:pt idx="135">
                  <c:v>45</c:v>
                </c:pt>
                <c:pt idx="136">
                  <c:v>45</c:v>
                </c:pt>
                <c:pt idx="137">
                  <c:v>44</c:v>
                </c:pt>
                <c:pt idx="138">
                  <c:v>43</c:v>
                </c:pt>
                <c:pt idx="139">
                  <c:v>44</c:v>
                </c:pt>
                <c:pt idx="140">
                  <c:v>49</c:v>
                </c:pt>
                <c:pt idx="141">
                  <c:v>52</c:v>
                </c:pt>
                <c:pt idx="142">
                  <c:v>53</c:v>
                </c:pt>
                <c:pt idx="143">
                  <c:v>52</c:v>
                </c:pt>
                <c:pt idx="144">
                  <c:v>46</c:v>
                </c:pt>
                <c:pt idx="145">
                  <c:v>55</c:v>
                </c:pt>
                <c:pt idx="146">
                  <c:v>52</c:v>
                </c:pt>
                <c:pt idx="147">
                  <c:v>55</c:v>
                </c:pt>
                <c:pt idx="148">
                  <c:v>58</c:v>
                </c:pt>
                <c:pt idx="149">
                  <c:v>61</c:v>
                </c:pt>
                <c:pt idx="150">
                  <c:v>67</c:v>
                </c:pt>
                <c:pt idx="151">
                  <c:v>84</c:v>
                </c:pt>
                <c:pt idx="152">
                  <c:v>97</c:v>
                </c:pt>
                <c:pt idx="153">
                  <c:v>105</c:v>
                </c:pt>
                <c:pt idx="154">
                  <c:v>112</c:v>
                </c:pt>
                <c:pt idx="155">
                  <c:v>123</c:v>
                </c:pt>
                <c:pt idx="156">
                  <c:v>135</c:v>
                </c:pt>
                <c:pt idx="157">
                  <c:v>145</c:v>
                </c:pt>
                <c:pt idx="158">
                  <c:v>171</c:v>
                </c:pt>
                <c:pt idx="159">
                  <c:v>178</c:v>
                </c:pt>
                <c:pt idx="160">
                  <c:v>197</c:v>
                </c:pt>
                <c:pt idx="161">
                  <c:v>211</c:v>
                </c:pt>
                <c:pt idx="162">
                  <c:v>241</c:v>
                </c:pt>
                <c:pt idx="163">
                  <c:v>257</c:v>
                </c:pt>
                <c:pt idx="164">
                  <c:v>263</c:v>
                </c:pt>
                <c:pt idx="165">
                  <c:v>302</c:v>
                </c:pt>
                <c:pt idx="166">
                  <c:v>323</c:v>
                </c:pt>
                <c:pt idx="167">
                  <c:v>345</c:v>
                </c:pt>
                <c:pt idx="168">
                  <c:v>359</c:v>
                </c:pt>
                <c:pt idx="169">
                  <c:v>376</c:v>
                </c:pt>
                <c:pt idx="170">
                  <c:v>383</c:v>
                </c:pt>
                <c:pt idx="171">
                  <c:v>392</c:v>
                </c:pt>
                <c:pt idx="172">
                  <c:v>411</c:v>
                </c:pt>
                <c:pt idx="173">
                  <c:v>440</c:v>
                </c:pt>
                <c:pt idx="174">
                  <c:v>457</c:v>
                </c:pt>
                <c:pt idx="175">
                  <c:v>487</c:v>
                </c:pt>
                <c:pt idx="176">
                  <c:v>486</c:v>
                </c:pt>
                <c:pt idx="177">
                  <c:v>521</c:v>
                </c:pt>
                <c:pt idx="178">
                  <c:v>526</c:v>
                </c:pt>
                <c:pt idx="179">
                  <c:v>585</c:v>
                </c:pt>
                <c:pt idx="180">
                  <c:v>640</c:v>
                </c:pt>
                <c:pt idx="181">
                  <c:v>676</c:v>
                </c:pt>
                <c:pt idx="182">
                  <c:v>7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20.05.21</c:v>
                </c:pt>
                <c:pt idx="1">
                  <c:v>21.05.21</c:v>
                </c:pt>
                <c:pt idx="2">
                  <c:v>22.05.21</c:v>
                </c:pt>
                <c:pt idx="3">
                  <c:v>23.05.21</c:v>
                </c:pt>
                <c:pt idx="4">
                  <c:v>24.05.21</c:v>
                </c:pt>
                <c:pt idx="5">
                  <c:v>25.05.21</c:v>
                </c:pt>
                <c:pt idx="6">
                  <c:v>26.05.21</c:v>
                </c:pt>
                <c:pt idx="7">
                  <c:v>27.05.21</c:v>
                </c:pt>
                <c:pt idx="8">
                  <c:v>28.05.21</c:v>
                </c:pt>
                <c:pt idx="9">
                  <c:v>29.05.21</c:v>
                </c:pt>
                <c:pt idx="10">
                  <c:v>30.05.21</c:v>
                </c:pt>
                <c:pt idx="11">
                  <c:v>31.05.21</c:v>
                </c:pt>
                <c:pt idx="12">
                  <c:v>01.06.21</c:v>
                </c:pt>
                <c:pt idx="13">
                  <c:v>02.06.21</c:v>
                </c:pt>
                <c:pt idx="14">
                  <c:v>03.06.21</c:v>
                </c:pt>
                <c:pt idx="15">
                  <c:v>04.06.21</c:v>
                </c:pt>
                <c:pt idx="16">
                  <c:v>05.06.21</c:v>
                </c:pt>
                <c:pt idx="17">
                  <c:v>06.06.21</c:v>
                </c:pt>
                <c:pt idx="18">
                  <c:v>07.06.21</c:v>
                </c:pt>
                <c:pt idx="19">
                  <c:v>08.06.21</c:v>
                </c:pt>
                <c:pt idx="20">
                  <c:v>09.06.21</c:v>
                </c:pt>
                <c:pt idx="21">
                  <c:v>10.06.21</c:v>
                </c:pt>
                <c:pt idx="22">
                  <c:v>11.06.21</c:v>
                </c:pt>
                <c:pt idx="23">
                  <c:v>12.06.21</c:v>
                </c:pt>
                <c:pt idx="24">
                  <c:v>13.06.21</c:v>
                </c:pt>
                <c:pt idx="25">
                  <c:v>14.06.21</c:v>
                </c:pt>
                <c:pt idx="26">
                  <c:v>15.06.21</c:v>
                </c:pt>
                <c:pt idx="27">
                  <c:v>16.06.21</c:v>
                </c:pt>
                <c:pt idx="28">
                  <c:v>17.06.21</c:v>
                </c:pt>
                <c:pt idx="29">
                  <c:v>18.06.21</c:v>
                </c:pt>
                <c:pt idx="30">
                  <c:v>19.06.21</c:v>
                </c:pt>
                <c:pt idx="31">
                  <c:v>20.06.21</c:v>
                </c:pt>
                <c:pt idx="32">
                  <c:v>21.06.21</c:v>
                </c:pt>
                <c:pt idx="33">
                  <c:v>22.06.21</c:v>
                </c:pt>
                <c:pt idx="34">
                  <c:v>23.06.21</c:v>
                </c:pt>
                <c:pt idx="35">
                  <c:v>24.06.21</c:v>
                </c:pt>
                <c:pt idx="36">
                  <c:v>25.06.21</c:v>
                </c:pt>
                <c:pt idx="37">
                  <c:v>26.06.21</c:v>
                </c:pt>
                <c:pt idx="38">
                  <c:v>27.06.21</c:v>
                </c:pt>
                <c:pt idx="39">
                  <c:v>28.06.21</c:v>
                </c:pt>
                <c:pt idx="40">
                  <c:v>29.06.21</c:v>
                </c:pt>
                <c:pt idx="41">
                  <c:v>30.06.21</c:v>
                </c:pt>
                <c:pt idx="42">
                  <c:v>01.07.21</c:v>
                </c:pt>
                <c:pt idx="43">
                  <c:v>02.07.21</c:v>
                </c:pt>
                <c:pt idx="44">
                  <c:v>03.07.21</c:v>
                </c:pt>
                <c:pt idx="45">
                  <c:v>04.07.21</c:v>
                </c:pt>
                <c:pt idx="46">
                  <c:v>05.07.21</c:v>
                </c:pt>
                <c:pt idx="47">
                  <c:v>06.07.21</c:v>
                </c:pt>
                <c:pt idx="48">
                  <c:v>07.07.21</c:v>
                </c:pt>
                <c:pt idx="49">
                  <c:v>08.07.21</c:v>
                </c:pt>
                <c:pt idx="50">
                  <c:v>09.07.21</c:v>
                </c:pt>
                <c:pt idx="51">
                  <c:v>10.07.21</c:v>
                </c:pt>
                <c:pt idx="52">
                  <c:v>11.07.21</c:v>
                </c:pt>
                <c:pt idx="53">
                  <c:v>12.07.21</c:v>
                </c:pt>
                <c:pt idx="54">
                  <c:v>13.07.21</c:v>
                </c:pt>
                <c:pt idx="55">
                  <c:v>14.07.21</c:v>
                </c:pt>
                <c:pt idx="56">
                  <c:v>15.07.21</c:v>
                </c:pt>
                <c:pt idx="57">
                  <c:v>16.07.21</c:v>
                </c:pt>
                <c:pt idx="58">
                  <c:v>17.07.21</c:v>
                </c:pt>
                <c:pt idx="59">
                  <c:v>18.07.21</c:v>
                </c:pt>
                <c:pt idx="60">
                  <c:v>19.07.21</c:v>
                </c:pt>
                <c:pt idx="61">
                  <c:v>20.07.21</c:v>
                </c:pt>
                <c:pt idx="62">
                  <c:v>21.07.21</c:v>
                </c:pt>
                <c:pt idx="63">
                  <c:v>22.07.21</c:v>
                </c:pt>
                <c:pt idx="64">
                  <c:v>23.07.21</c:v>
                </c:pt>
                <c:pt idx="65">
                  <c:v>24.07.21</c:v>
                </c:pt>
                <c:pt idx="66">
                  <c:v>25.07.21</c:v>
                </c:pt>
                <c:pt idx="67">
                  <c:v>26.07.21</c:v>
                </c:pt>
                <c:pt idx="68">
                  <c:v>27.07.21</c:v>
                </c:pt>
                <c:pt idx="69">
                  <c:v>28.07.21</c:v>
                </c:pt>
                <c:pt idx="70">
                  <c:v>29.07.21</c:v>
                </c:pt>
                <c:pt idx="71">
                  <c:v>30.07.21</c:v>
                </c:pt>
                <c:pt idx="72">
                  <c:v>31.07.21</c:v>
                </c:pt>
                <c:pt idx="73">
                  <c:v>01.08.21</c:v>
                </c:pt>
                <c:pt idx="74">
                  <c:v>02.08.21</c:v>
                </c:pt>
                <c:pt idx="75">
                  <c:v>03.08.21</c:v>
                </c:pt>
                <c:pt idx="76">
                  <c:v>04.08.21</c:v>
                </c:pt>
                <c:pt idx="77">
                  <c:v>05.08.21</c:v>
                </c:pt>
                <c:pt idx="78">
                  <c:v>06.08.21</c:v>
                </c:pt>
                <c:pt idx="79">
                  <c:v>07.08.21</c:v>
                </c:pt>
                <c:pt idx="80">
                  <c:v>08.08.21</c:v>
                </c:pt>
                <c:pt idx="81">
                  <c:v>09.08.21</c:v>
                </c:pt>
                <c:pt idx="82">
                  <c:v>10.08.21</c:v>
                </c:pt>
                <c:pt idx="83">
                  <c:v>11.08.21</c:v>
                </c:pt>
                <c:pt idx="84">
                  <c:v>12.08.21</c:v>
                </c:pt>
                <c:pt idx="85">
                  <c:v>13.08.21</c:v>
                </c:pt>
                <c:pt idx="86">
                  <c:v>14.08.21</c:v>
                </c:pt>
                <c:pt idx="87">
                  <c:v>15.08.21</c:v>
                </c:pt>
                <c:pt idx="88">
                  <c:v>16.08.21</c:v>
                </c:pt>
                <c:pt idx="89">
                  <c:v>17.08.21</c:v>
                </c:pt>
                <c:pt idx="90">
                  <c:v>18.08.21</c:v>
                </c:pt>
                <c:pt idx="91">
                  <c:v>19.08.21</c:v>
                </c:pt>
                <c:pt idx="92">
                  <c:v>20.08.21</c:v>
                </c:pt>
                <c:pt idx="93">
                  <c:v>21.08.21</c:v>
                </c:pt>
                <c:pt idx="94">
                  <c:v>22.08.21</c:v>
                </c:pt>
                <c:pt idx="95">
                  <c:v>23.08.21</c:v>
                </c:pt>
                <c:pt idx="96">
                  <c:v>24.08.21</c:v>
                </c:pt>
                <c:pt idx="97">
                  <c:v>25.08.21</c:v>
                </c:pt>
                <c:pt idx="98">
                  <c:v>26.08.21</c:v>
                </c:pt>
                <c:pt idx="99">
                  <c:v>27.08.21</c:v>
                </c:pt>
                <c:pt idx="100">
                  <c:v>28.08.21</c:v>
                </c:pt>
                <c:pt idx="101">
                  <c:v>29.08.21</c:v>
                </c:pt>
                <c:pt idx="102">
                  <c:v>30.08.21</c:v>
                </c:pt>
                <c:pt idx="103">
                  <c:v>31.08.21</c:v>
                </c:pt>
                <c:pt idx="104">
                  <c:v>01.09.21</c:v>
                </c:pt>
                <c:pt idx="105">
                  <c:v>02.09.21</c:v>
                </c:pt>
                <c:pt idx="106">
                  <c:v>03.09.21</c:v>
                </c:pt>
                <c:pt idx="107">
                  <c:v>04.09.21</c:v>
                </c:pt>
                <c:pt idx="108">
                  <c:v>05.09.21</c:v>
                </c:pt>
                <c:pt idx="109">
                  <c:v>06.09.21</c:v>
                </c:pt>
                <c:pt idx="110">
                  <c:v>07.09.21</c:v>
                </c:pt>
                <c:pt idx="111">
                  <c:v>08.09.21</c:v>
                </c:pt>
                <c:pt idx="112">
                  <c:v>09.09.21</c:v>
                </c:pt>
                <c:pt idx="113">
                  <c:v>10.09.21</c:v>
                </c:pt>
                <c:pt idx="114">
                  <c:v>11.09.21</c:v>
                </c:pt>
                <c:pt idx="115">
                  <c:v>12.09.21</c:v>
                </c:pt>
                <c:pt idx="116">
                  <c:v>13.09.21</c:v>
                </c:pt>
                <c:pt idx="117">
                  <c:v>14.09.21</c:v>
                </c:pt>
                <c:pt idx="118">
                  <c:v>15.09.21</c:v>
                </c:pt>
                <c:pt idx="119">
                  <c:v>16.09.21</c:v>
                </c:pt>
                <c:pt idx="120">
                  <c:v>17.09.21</c:v>
                </c:pt>
                <c:pt idx="121">
                  <c:v>18.09.21</c:v>
                </c:pt>
                <c:pt idx="122">
                  <c:v>19.09.21</c:v>
                </c:pt>
                <c:pt idx="123">
                  <c:v>20.09.21</c:v>
                </c:pt>
                <c:pt idx="124">
                  <c:v>21.09.21</c:v>
                </c:pt>
                <c:pt idx="125">
                  <c:v>22.09.21</c:v>
                </c:pt>
                <c:pt idx="126">
                  <c:v>23.09.21</c:v>
                </c:pt>
                <c:pt idx="127">
                  <c:v>24.09.21</c:v>
                </c:pt>
                <c:pt idx="128">
                  <c:v>25.09.21</c:v>
                </c:pt>
                <c:pt idx="129">
                  <c:v>26.09.21</c:v>
                </c:pt>
                <c:pt idx="130">
                  <c:v>27.09.21</c:v>
                </c:pt>
                <c:pt idx="131">
                  <c:v>28.09.21</c:v>
                </c:pt>
                <c:pt idx="132">
                  <c:v>29.09.21</c:v>
                </c:pt>
                <c:pt idx="133">
                  <c:v>30.09.21</c:v>
                </c:pt>
                <c:pt idx="134">
                  <c:v>01.10.21</c:v>
                </c:pt>
                <c:pt idx="135">
                  <c:v>02.10.21</c:v>
                </c:pt>
                <c:pt idx="136">
                  <c:v>03.10.21</c:v>
                </c:pt>
                <c:pt idx="137">
                  <c:v>04.10.21</c:v>
                </c:pt>
                <c:pt idx="138">
                  <c:v>05.10.21</c:v>
                </c:pt>
                <c:pt idx="139">
                  <c:v>06.10.21</c:v>
                </c:pt>
                <c:pt idx="140">
                  <c:v>07.10.21</c:v>
                </c:pt>
                <c:pt idx="141">
                  <c:v>08.10.21</c:v>
                </c:pt>
                <c:pt idx="142">
                  <c:v>09.10.21</c:v>
                </c:pt>
                <c:pt idx="143">
                  <c:v>10.10.21</c:v>
                </c:pt>
                <c:pt idx="144">
                  <c:v>11.10.21</c:v>
                </c:pt>
                <c:pt idx="145">
                  <c:v>12.10.21</c:v>
                </c:pt>
                <c:pt idx="146">
                  <c:v>13.10.21</c:v>
                </c:pt>
                <c:pt idx="147">
                  <c:v>14.10.21</c:v>
                </c:pt>
                <c:pt idx="148">
                  <c:v>15.10.21</c:v>
                </c:pt>
                <c:pt idx="149">
                  <c:v>16.10.21</c:v>
                </c:pt>
                <c:pt idx="150">
                  <c:v>17.10.21</c:v>
                </c:pt>
                <c:pt idx="151">
                  <c:v>18.10.21</c:v>
                </c:pt>
                <c:pt idx="152">
                  <c:v>19.10.21</c:v>
                </c:pt>
                <c:pt idx="153">
                  <c:v>20.10.21</c:v>
                </c:pt>
                <c:pt idx="154">
                  <c:v>21.10.21</c:v>
                </c:pt>
                <c:pt idx="155">
                  <c:v>22.10.21</c:v>
                </c:pt>
                <c:pt idx="156">
                  <c:v>23.10.21</c:v>
                </c:pt>
                <c:pt idx="157">
                  <c:v>24.10.21</c:v>
                </c:pt>
                <c:pt idx="158">
                  <c:v>25.10.21</c:v>
                </c:pt>
                <c:pt idx="159">
                  <c:v>26.10.21</c:v>
                </c:pt>
                <c:pt idx="160">
                  <c:v>27.10.21</c:v>
                </c:pt>
                <c:pt idx="161">
                  <c:v>28.10.21</c:v>
                </c:pt>
                <c:pt idx="162">
                  <c:v>29.10.21</c:v>
                </c:pt>
                <c:pt idx="163">
                  <c:v>30.10.21</c:v>
                </c:pt>
                <c:pt idx="164">
                  <c:v>31.10.21</c:v>
                </c:pt>
                <c:pt idx="165">
                  <c:v>01.11.21</c:v>
                </c:pt>
                <c:pt idx="166">
                  <c:v>02.11.21</c:v>
                </c:pt>
                <c:pt idx="167">
                  <c:v>03.11.21</c:v>
                </c:pt>
                <c:pt idx="168">
                  <c:v>04.11.21</c:v>
                </c:pt>
                <c:pt idx="169">
                  <c:v>05.11.21</c:v>
                </c:pt>
                <c:pt idx="170">
                  <c:v>06.11.21</c:v>
                </c:pt>
                <c:pt idx="171">
                  <c:v>07.11.21</c:v>
                </c:pt>
                <c:pt idx="172">
                  <c:v>08.11.21</c:v>
                </c:pt>
                <c:pt idx="173">
                  <c:v>09.11.21</c:v>
                </c:pt>
                <c:pt idx="174">
                  <c:v>10.11.21</c:v>
                </c:pt>
                <c:pt idx="175">
                  <c:v>11.11.21</c:v>
                </c:pt>
                <c:pt idx="176">
                  <c:v>12.11.21</c:v>
                </c:pt>
                <c:pt idx="177">
                  <c:v>13.11.21</c:v>
                </c:pt>
                <c:pt idx="178">
                  <c:v>14.11.21</c:v>
                </c:pt>
                <c:pt idx="179">
                  <c:v>15.11.21</c:v>
                </c:pt>
                <c:pt idx="180">
                  <c:v>16.11.21</c:v>
                </c:pt>
                <c:pt idx="181">
                  <c:v>17.11.21</c:v>
                </c:pt>
                <c:pt idx="182">
                  <c:v>18.11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98</c:v>
                </c:pt>
                <c:pt idx="1">
                  <c:v>86</c:v>
                </c:pt>
                <c:pt idx="2">
                  <c:v>85</c:v>
                </c:pt>
                <c:pt idx="3">
                  <c:v>84</c:v>
                </c:pt>
                <c:pt idx="4">
                  <c:v>68</c:v>
                </c:pt>
                <c:pt idx="5">
                  <c:v>62</c:v>
                </c:pt>
                <c:pt idx="6">
                  <c:v>61</c:v>
                </c:pt>
                <c:pt idx="7">
                  <c:v>52</c:v>
                </c:pt>
                <c:pt idx="8">
                  <c:v>51</c:v>
                </c:pt>
                <c:pt idx="9">
                  <c:v>48</c:v>
                </c:pt>
                <c:pt idx="10">
                  <c:v>47</c:v>
                </c:pt>
                <c:pt idx="11">
                  <c:v>43</c:v>
                </c:pt>
                <c:pt idx="12">
                  <c:v>43</c:v>
                </c:pt>
                <c:pt idx="13">
                  <c:v>39</c:v>
                </c:pt>
                <c:pt idx="14">
                  <c:v>41</c:v>
                </c:pt>
                <c:pt idx="15">
                  <c:v>38</c:v>
                </c:pt>
                <c:pt idx="16">
                  <c:v>36</c:v>
                </c:pt>
                <c:pt idx="17">
                  <c:v>37</c:v>
                </c:pt>
                <c:pt idx="18">
                  <c:v>34</c:v>
                </c:pt>
                <c:pt idx="19">
                  <c:v>30</c:v>
                </c:pt>
                <c:pt idx="20">
                  <c:v>27</c:v>
                </c:pt>
                <c:pt idx="21">
                  <c:v>27</c:v>
                </c:pt>
                <c:pt idx="22">
                  <c:v>23</c:v>
                </c:pt>
                <c:pt idx="23">
                  <c:v>24</c:v>
                </c:pt>
                <c:pt idx="24">
                  <c:v>26</c:v>
                </c:pt>
                <c:pt idx="25">
                  <c:v>24</c:v>
                </c:pt>
                <c:pt idx="26">
                  <c:v>22</c:v>
                </c:pt>
                <c:pt idx="27">
                  <c:v>22</c:v>
                </c:pt>
                <c:pt idx="28">
                  <c:v>21</c:v>
                </c:pt>
                <c:pt idx="29">
                  <c:v>22</c:v>
                </c:pt>
                <c:pt idx="30">
                  <c:v>23</c:v>
                </c:pt>
                <c:pt idx="31">
                  <c:v>23</c:v>
                </c:pt>
                <c:pt idx="32">
                  <c:v>22</c:v>
                </c:pt>
                <c:pt idx="33">
                  <c:v>20</c:v>
                </c:pt>
                <c:pt idx="34">
                  <c:v>21</c:v>
                </c:pt>
                <c:pt idx="35">
                  <c:v>21</c:v>
                </c:pt>
                <c:pt idx="36">
                  <c:v>20</c:v>
                </c:pt>
                <c:pt idx="37">
                  <c:v>20</c:v>
                </c:pt>
                <c:pt idx="38">
                  <c:v>18</c:v>
                </c:pt>
                <c:pt idx="39">
                  <c:v>19</c:v>
                </c:pt>
                <c:pt idx="40">
                  <c:v>21</c:v>
                </c:pt>
                <c:pt idx="41">
                  <c:v>20</c:v>
                </c:pt>
                <c:pt idx="42">
                  <c:v>19</c:v>
                </c:pt>
                <c:pt idx="43">
                  <c:v>19</c:v>
                </c:pt>
                <c:pt idx="44">
                  <c:v>19</c:v>
                </c:pt>
                <c:pt idx="45">
                  <c:v>20</c:v>
                </c:pt>
                <c:pt idx="46">
                  <c:v>24</c:v>
                </c:pt>
                <c:pt idx="47">
                  <c:v>24</c:v>
                </c:pt>
                <c:pt idx="48">
                  <c:v>24</c:v>
                </c:pt>
                <c:pt idx="49">
                  <c:v>23</c:v>
                </c:pt>
                <c:pt idx="50">
                  <c:v>23</c:v>
                </c:pt>
                <c:pt idx="51">
                  <c:v>23</c:v>
                </c:pt>
                <c:pt idx="52">
                  <c:v>22</c:v>
                </c:pt>
                <c:pt idx="53">
                  <c:v>22</c:v>
                </c:pt>
                <c:pt idx="54">
                  <c:v>24</c:v>
                </c:pt>
                <c:pt idx="55">
                  <c:v>26</c:v>
                </c:pt>
                <c:pt idx="56">
                  <c:v>27</c:v>
                </c:pt>
                <c:pt idx="57">
                  <c:v>25</c:v>
                </c:pt>
                <c:pt idx="58">
                  <c:v>24</c:v>
                </c:pt>
                <c:pt idx="59">
                  <c:v>24</c:v>
                </c:pt>
                <c:pt idx="60">
                  <c:v>26</c:v>
                </c:pt>
                <c:pt idx="61">
                  <c:v>26</c:v>
                </c:pt>
                <c:pt idx="62">
                  <c:v>29</c:v>
                </c:pt>
                <c:pt idx="63">
                  <c:v>29</c:v>
                </c:pt>
                <c:pt idx="64">
                  <c:v>32</c:v>
                </c:pt>
                <c:pt idx="65">
                  <c:v>33</c:v>
                </c:pt>
                <c:pt idx="66">
                  <c:v>34</c:v>
                </c:pt>
                <c:pt idx="67">
                  <c:v>33</c:v>
                </c:pt>
                <c:pt idx="68">
                  <c:v>31</c:v>
                </c:pt>
                <c:pt idx="69">
                  <c:v>30</c:v>
                </c:pt>
                <c:pt idx="70">
                  <c:v>29</c:v>
                </c:pt>
                <c:pt idx="71">
                  <c:v>30</c:v>
                </c:pt>
                <c:pt idx="72">
                  <c:v>30</c:v>
                </c:pt>
                <c:pt idx="73">
                  <c:v>30</c:v>
                </c:pt>
                <c:pt idx="74">
                  <c:v>26</c:v>
                </c:pt>
                <c:pt idx="75">
                  <c:v>28</c:v>
                </c:pt>
                <c:pt idx="76">
                  <c:v>26</c:v>
                </c:pt>
                <c:pt idx="77">
                  <c:v>25</c:v>
                </c:pt>
                <c:pt idx="78">
                  <c:v>22</c:v>
                </c:pt>
                <c:pt idx="79">
                  <c:v>21</c:v>
                </c:pt>
                <c:pt idx="80">
                  <c:v>18</c:v>
                </c:pt>
                <c:pt idx="81">
                  <c:v>20</c:v>
                </c:pt>
                <c:pt idx="82">
                  <c:v>22</c:v>
                </c:pt>
                <c:pt idx="83">
                  <c:v>24</c:v>
                </c:pt>
                <c:pt idx="84">
                  <c:v>24</c:v>
                </c:pt>
                <c:pt idx="85">
                  <c:v>26</c:v>
                </c:pt>
                <c:pt idx="86">
                  <c:v>27</c:v>
                </c:pt>
                <c:pt idx="87">
                  <c:v>28</c:v>
                </c:pt>
                <c:pt idx="88">
                  <c:v>30</c:v>
                </c:pt>
                <c:pt idx="89">
                  <c:v>32</c:v>
                </c:pt>
                <c:pt idx="90">
                  <c:v>33</c:v>
                </c:pt>
                <c:pt idx="91">
                  <c:v>33</c:v>
                </c:pt>
                <c:pt idx="92">
                  <c:v>33</c:v>
                </c:pt>
                <c:pt idx="93">
                  <c:v>33</c:v>
                </c:pt>
                <c:pt idx="94">
                  <c:v>33</c:v>
                </c:pt>
                <c:pt idx="95">
                  <c:v>35</c:v>
                </c:pt>
                <c:pt idx="96">
                  <c:v>36</c:v>
                </c:pt>
                <c:pt idx="97">
                  <c:v>33</c:v>
                </c:pt>
                <c:pt idx="98">
                  <c:v>34</c:v>
                </c:pt>
                <c:pt idx="99">
                  <c:v>33</c:v>
                </c:pt>
                <c:pt idx="100">
                  <c:v>33</c:v>
                </c:pt>
                <c:pt idx="101">
                  <c:v>32</c:v>
                </c:pt>
                <c:pt idx="102">
                  <c:v>27</c:v>
                </c:pt>
                <c:pt idx="103">
                  <c:v>28</c:v>
                </c:pt>
                <c:pt idx="104">
                  <c:v>26</c:v>
                </c:pt>
                <c:pt idx="105">
                  <c:v>31</c:v>
                </c:pt>
                <c:pt idx="106">
                  <c:v>37</c:v>
                </c:pt>
                <c:pt idx="107">
                  <c:v>38</c:v>
                </c:pt>
                <c:pt idx="108">
                  <c:v>36</c:v>
                </c:pt>
                <c:pt idx="109">
                  <c:v>34</c:v>
                </c:pt>
                <c:pt idx="110">
                  <c:v>40</c:v>
                </c:pt>
                <c:pt idx="111">
                  <c:v>40</c:v>
                </c:pt>
                <c:pt idx="112">
                  <c:v>42</c:v>
                </c:pt>
                <c:pt idx="113">
                  <c:v>42</c:v>
                </c:pt>
                <c:pt idx="114">
                  <c:v>41</c:v>
                </c:pt>
                <c:pt idx="115">
                  <c:v>42</c:v>
                </c:pt>
                <c:pt idx="116">
                  <c:v>43</c:v>
                </c:pt>
                <c:pt idx="117">
                  <c:v>46</c:v>
                </c:pt>
                <c:pt idx="118">
                  <c:v>48</c:v>
                </c:pt>
                <c:pt idx="119">
                  <c:v>50</c:v>
                </c:pt>
                <c:pt idx="120">
                  <c:v>49</c:v>
                </c:pt>
                <c:pt idx="121">
                  <c:v>51</c:v>
                </c:pt>
                <c:pt idx="122">
                  <c:v>52</c:v>
                </c:pt>
                <c:pt idx="123">
                  <c:v>58</c:v>
                </c:pt>
                <c:pt idx="124">
                  <c:v>60</c:v>
                </c:pt>
                <c:pt idx="125">
                  <c:v>65</c:v>
                </c:pt>
                <c:pt idx="126">
                  <c:v>68</c:v>
                </c:pt>
                <c:pt idx="127">
                  <c:v>75</c:v>
                </c:pt>
                <c:pt idx="128">
                  <c:v>82</c:v>
                </c:pt>
                <c:pt idx="129">
                  <c:v>84</c:v>
                </c:pt>
                <c:pt idx="130">
                  <c:v>85</c:v>
                </c:pt>
                <c:pt idx="131">
                  <c:v>90</c:v>
                </c:pt>
                <c:pt idx="132">
                  <c:v>96</c:v>
                </c:pt>
                <c:pt idx="133">
                  <c:v>104</c:v>
                </c:pt>
                <c:pt idx="134">
                  <c:v>106</c:v>
                </c:pt>
                <c:pt idx="135">
                  <c:v>107</c:v>
                </c:pt>
                <c:pt idx="136">
                  <c:v>113</c:v>
                </c:pt>
                <c:pt idx="137">
                  <c:v>112</c:v>
                </c:pt>
                <c:pt idx="138">
                  <c:v>120</c:v>
                </c:pt>
                <c:pt idx="139">
                  <c:v>124</c:v>
                </c:pt>
                <c:pt idx="140">
                  <c:v>126</c:v>
                </c:pt>
                <c:pt idx="141">
                  <c:v>126</c:v>
                </c:pt>
                <c:pt idx="142">
                  <c:v>126</c:v>
                </c:pt>
                <c:pt idx="143">
                  <c:v>124</c:v>
                </c:pt>
                <c:pt idx="144">
                  <c:v>135</c:v>
                </c:pt>
                <c:pt idx="145">
                  <c:v>147</c:v>
                </c:pt>
                <c:pt idx="146">
                  <c:v>148</c:v>
                </c:pt>
                <c:pt idx="147">
                  <c:v>156</c:v>
                </c:pt>
                <c:pt idx="148">
                  <c:v>166</c:v>
                </c:pt>
                <c:pt idx="149">
                  <c:v>171</c:v>
                </c:pt>
                <c:pt idx="150">
                  <c:v>174</c:v>
                </c:pt>
                <c:pt idx="151">
                  <c:v>196</c:v>
                </c:pt>
                <c:pt idx="152">
                  <c:v>207</c:v>
                </c:pt>
                <c:pt idx="153">
                  <c:v>223</c:v>
                </c:pt>
                <c:pt idx="154">
                  <c:v>261</c:v>
                </c:pt>
                <c:pt idx="155">
                  <c:v>288</c:v>
                </c:pt>
                <c:pt idx="156">
                  <c:v>317</c:v>
                </c:pt>
                <c:pt idx="157">
                  <c:v>320</c:v>
                </c:pt>
                <c:pt idx="158">
                  <c:v>364</c:v>
                </c:pt>
                <c:pt idx="159">
                  <c:v>410</c:v>
                </c:pt>
                <c:pt idx="160">
                  <c:v>461</c:v>
                </c:pt>
                <c:pt idx="161">
                  <c:v>477</c:v>
                </c:pt>
                <c:pt idx="162">
                  <c:v>535</c:v>
                </c:pt>
                <c:pt idx="163">
                  <c:v>582</c:v>
                </c:pt>
                <c:pt idx="164">
                  <c:v>609</c:v>
                </c:pt>
                <c:pt idx="165">
                  <c:v>669</c:v>
                </c:pt>
                <c:pt idx="166">
                  <c:v>750</c:v>
                </c:pt>
                <c:pt idx="167">
                  <c:v>825</c:v>
                </c:pt>
                <c:pt idx="168">
                  <c:v>866</c:v>
                </c:pt>
                <c:pt idx="169">
                  <c:v>941</c:v>
                </c:pt>
                <c:pt idx="170">
                  <c:v>996</c:v>
                </c:pt>
                <c:pt idx="171">
                  <c:v>998</c:v>
                </c:pt>
                <c:pt idx="172">
                  <c:v>1037</c:v>
                </c:pt>
                <c:pt idx="173">
                  <c:v>1115</c:v>
                </c:pt>
                <c:pt idx="174">
                  <c:v>1214</c:v>
                </c:pt>
                <c:pt idx="175">
                  <c:v>1268</c:v>
                </c:pt>
                <c:pt idx="176">
                  <c:v>1338</c:v>
                </c:pt>
                <c:pt idx="177">
                  <c:v>1374</c:v>
                </c:pt>
                <c:pt idx="178">
                  <c:v>1381</c:v>
                </c:pt>
                <c:pt idx="179">
                  <c:v>1524</c:v>
                </c:pt>
                <c:pt idx="180">
                  <c:v>1724</c:v>
                </c:pt>
                <c:pt idx="181">
                  <c:v>1821</c:v>
                </c:pt>
                <c:pt idx="182">
                  <c:v>19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4.662547463082748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0.05.21</c:v>
                </c:pt>
                <c:pt idx="1">
                  <c:v>21.05.21</c:v>
                </c:pt>
                <c:pt idx="2">
                  <c:v>22.05.21</c:v>
                </c:pt>
                <c:pt idx="3">
                  <c:v>23.05.21</c:v>
                </c:pt>
                <c:pt idx="4">
                  <c:v>24.05.21</c:v>
                </c:pt>
                <c:pt idx="5">
                  <c:v>25.05.21</c:v>
                </c:pt>
                <c:pt idx="6">
                  <c:v>26.05.21</c:v>
                </c:pt>
                <c:pt idx="7">
                  <c:v>27.05.21</c:v>
                </c:pt>
                <c:pt idx="8">
                  <c:v>28.05.21</c:v>
                </c:pt>
                <c:pt idx="9">
                  <c:v>29.05.21</c:v>
                </c:pt>
                <c:pt idx="10">
                  <c:v>30.05.21</c:v>
                </c:pt>
                <c:pt idx="11">
                  <c:v>31.05.21</c:v>
                </c:pt>
                <c:pt idx="12">
                  <c:v>01.06.21</c:v>
                </c:pt>
                <c:pt idx="13">
                  <c:v>02.06.21</c:v>
                </c:pt>
                <c:pt idx="14">
                  <c:v>03.06.21</c:v>
                </c:pt>
                <c:pt idx="15">
                  <c:v>04.06.21</c:v>
                </c:pt>
                <c:pt idx="16">
                  <c:v>05.06.21</c:v>
                </c:pt>
                <c:pt idx="17">
                  <c:v>06.06.21</c:v>
                </c:pt>
                <c:pt idx="18">
                  <c:v>07.06.21</c:v>
                </c:pt>
                <c:pt idx="19">
                  <c:v>08.06.21</c:v>
                </c:pt>
                <c:pt idx="20">
                  <c:v>09.06.21</c:v>
                </c:pt>
                <c:pt idx="21">
                  <c:v>10.06.21</c:v>
                </c:pt>
                <c:pt idx="22">
                  <c:v>11.06.21</c:v>
                </c:pt>
                <c:pt idx="23">
                  <c:v>12.06.21</c:v>
                </c:pt>
                <c:pt idx="24">
                  <c:v>13.06.21</c:v>
                </c:pt>
                <c:pt idx="25">
                  <c:v>14.06.21</c:v>
                </c:pt>
                <c:pt idx="26">
                  <c:v>15.06.21</c:v>
                </c:pt>
                <c:pt idx="27">
                  <c:v>16.06.21</c:v>
                </c:pt>
                <c:pt idx="28">
                  <c:v>17.06.21</c:v>
                </c:pt>
                <c:pt idx="29">
                  <c:v>18.06.21</c:v>
                </c:pt>
                <c:pt idx="30">
                  <c:v>19.06.21</c:v>
                </c:pt>
                <c:pt idx="31">
                  <c:v>20.06.21</c:v>
                </c:pt>
                <c:pt idx="32">
                  <c:v>21.06.21</c:v>
                </c:pt>
                <c:pt idx="33">
                  <c:v>22.06.21</c:v>
                </c:pt>
                <c:pt idx="34">
                  <c:v>23.06.21</c:v>
                </c:pt>
                <c:pt idx="35">
                  <c:v>24.06.21</c:v>
                </c:pt>
                <c:pt idx="36">
                  <c:v>25.06.21</c:v>
                </c:pt>
                <c:pt idx="37">
                  <c:v>26.06.21</c:v>
                </c:pt>
                <c:pt idx="38">
                  <c:v>27.06.21</c:v>
                </c:pt>
                <c:pt idx="39">
                  <c:v>28.06.21</c:v>
                </c:pt>
                <c:pt idx="40">
                  <c:v>29.06.21</c:v>
                </c:pt>
                <c:pt idx="41">
                  <c:v>30.06.21</c:v>
                </c:pt>
                <c:pt idx="42">
                  <c:v>01.07.21</c:v>
                </c:pt>
                <c:pt idx="43">
                  <c:v>02.07.21</c:v>
                </c:pt>
                <c:pt idx="44">
                  <c:v>03.07.21</c:v>
                </c:pt>
                <c:pt idx="45">
                  <c:v>04.07.21</c:v>
                </c:pt>
                <c:pt idx="46">
                  <c:v>05.07.21</c:v>
                </c:pt>
                <c:pt idx="47">
                  <c:v>06.07.21</c:v>
                </c:pt>
                <c:pt idx="48">
                  <c:v>07.07.21</c:v>
                </c:pt>
                <c:pt idx="49">
                  <c:v>08.07.21</c:v>
                </c:pt>
                <c:pt idx="50">
                  <c:v>09.07.21</c:v>
                </c:pt>
                <c:pt idx="51">
                  <c:v>10.07.21</c:v>
                </c:pt>
                <c:pt idx="52">
                  <c:v>11.07.21</c:v>
                </c:pt>
                <c:pt idx="53">
                  <c:v>12.07.21</c:v>
                </c:pt>
                <c:pt idx="54">
                  <c:v>13.07.21</c:v>
                </c:pt>
                <c:pt idx="55">
                  <c:v>14.07.21</c:v>
                </c:pt>
                <c:pt idx="56">
                  <c:v>15.07.21</c:v>
                </c:pt>
                <c:pt idx="57">
                  <c:v>16.07.21</c:v>
                </c:pt>
                <c:pt idx="58">
                  <c:v>17.07.21</c:v>
                </c:pt>
                <c:pt idx="59">
                  <c:v>18.07.21</c:v>
                </c:pt>
                <c:pt idx="60">
                  <c:v>19.07.21</c:v>
                </c:pt>
                <c:pt idx="61">
                  <c:v>20.07.21</c:v>
                </c:pt>
                <c:pt idx="62">
                  <c:v>21.07.21</c:v>
                </c:pt>
                <c:pt idx="63">
                  <c:v>22.07.21</c:v>
                </c:pt>
                <c:pt idx="64">
                  <c:v>23.07.21</c:v>
                </c:pt>
                <c:pt idx="65">
                  <c:v>24.07.21</c:v>
                </c:pt>
                <c:pt idx="66">
                  <c:v>25.07.21</c:v>
                </c:pt>
                <c:pt idx="67">
                  <c:v>26.07.21</c:v>
                </c:pt>
                <c:pt idx="68">
                  <c:v>27.07.21</c:v>
                </c:pt>
                <c:pt idx="69">
                  <c:v>28.07.21</c:v>
                </c:pt>
                <c:pt idx="70">
                  <c:v>29.07.21</c:v>
                </c:pt>
                <c:pt idx="71">
                  <c:v>30.07.21</c:v>
                </c:pt>
                <c:pt idx="72">
                  <c:v>31.07.21</c:v>
                </c:pt>
                <c:pt idx="73">
                  <c:v>01.08.21</c:v>
                </c:pt>
                <c:pt idx="74">
                  <c:v>02.08.21</c:v>
                </c:pt>
                <c:pt idx="75">
                  <c:v>03.08.21</c:v>
                </c:pt>
                <c:pt idx="76">
                  <c:v>04.08.21</c:v>
                </c:pt>
                <c:pt idx="77">
                  <c:v>05.08.21</c:v>
                </c:pt>
                <c:pt idx="78">
                  <c:v>06.08.21</c:v>
                </c:pt>
                <c:pt idx="79">
                  <c:v>07.08.21</c:v>
                </c:pt>
                <c:pt idx="80">
                  <c:v>08.08.21</c:v>
                </c:pt>
                <c:pt idx="81">
                  <c:v>09.08.21</c:v>
                </c:pt>
                <c:pt idx="82">
                  <c:v>10.08.21</c:v>
                </c:pt>
                <c:pt idx="83">
                  <c:v>11.08.21</c:v>
                </c:pt>
                <c:pt idx="84">
                  <c:v>12.08.21</c:v>
                </c:pt>
                <c:pt idx="85">
                  <c:v>13.08.21</c:v>
                </c:pt>
                <c:pt idx="86">
                  <c:v>14.08.21</c:v>
                </c:pt>
                <c:pt idx="87">
                  <c:v>15.08.21</c:v>
                </c:pt>
                <c:pt idx="88">
                  <c:v>16.08.21</c:v>
                </c:pt>
                <c:pt idx="89">
                  <c:v>17.08.21</c:v>
                </c:pt>
                <c:pt idx="90">
                  <c:v>18.08.21</c:v>
                </c:pt>
                <c:pt idx="91">
                  <c:v>19.08.21</c:v>
                </c:pt>
                <c:pt idx="92">
                  <c:v>20.08.21</c:v>
                </c:pt>
                <c:pt idx="93">
                  <c:v>21.08.21</c:v>
                </c:pt>
                <c:pt idx="94">
                  <c:v>22.08.21</c:v>
                </c:pt>
                <c:pt idx="95">
                  <c:v>23.08.21</c:v>
                </c:pt>
                <c:pt idx="96">
                  <c:v>24.08.21</c:v>
                </c:pt>
                <c:pt idx="97">
                  <c:v>25.08.21</c:v>
                </c:pt>
                <c:pt idx="98">
                  <c:v>26.08.21</c:v>
                </c:pt>
                <c:pt idx="99">
                  <c:v>27.08.21</c:v>
                </c:pt>
                <c:pt idx="100">
                  <c:v>28.08.21</c:v>
                </c:pt>
                <c:pt idx="101">
                  <c:v>29.08.21</c:v>
                </c:pt>
                <c:pt idx="102">
                  <c:v>30.08.21</c:v>
                </c:pt>
                <c:pt idx="103">
                  <c:v>31.08.21</c:v>
                </c:pt>
                <c:pt idx="104">
                  <c:v>01.09.21</c:v>
                </c:pt>
                <c:pt idx="105">
                  <c:v>02.09.21</c:v>
                </c:pt>
                <c:pt idx="106">
                  <c:v>03.09.21</c:v>
                </c:pt>
                <c:pt idx="107">
                  <c:v>04.09.21</c:v>
                </c:pt>
                <c:pt idx="108">
                  <c:v>05.09.21</c:v>
                </c:pt>
                <c:pt idx="109">
                  <c:v>06.09.21</c:v>
                </c:pt>
                <c:pt idx="110">
                  <c:v>07.09.21</c:v>
                </c:pt>
                <c:pt idx="111">
                  <c:v>08.09.21</c:v>
                </c:pt>
                <c:pt idx="112">
                  <c:v>09.09.21</c:v>
                </c:pt>
                <c:pt idx="113">
                  <c:v>10.09.21</c:v>
                </c:pt>
                <c:pt idx="114">
                  <c:v>11.09.21</c:v>
                </c:pt>
                <c:pt idx="115">
                  <c:v>12.09.21</c:v>
                </c:pt>
                <c:pt idx="116">
                  <c:v>13.09.21</c:v>
                </c:pt>
                <c:pt idx="117">
                  <c:v>14.09.21</c:v>
                </c:pt>
                <c:pt idx="118">
                  <c:v>15.09.21</c:v>
                </c:pt>
                <c:pt idx="119">
                  <c:v>16.09.21</c:v>
                </c:pt>
                <c:pt idx="120">
                  <c:v>17.09.21</c:v>
                </c:pt>
                <c:pt idx="121">
                  <c:v>18.09.21</c:v>
                </c:pt>
                <c:pt idx="122">
                  <c:v>19.09.21</c:v>
                </c:pt>
                <c:pt idx="123">
                  <c:v>20.09.21</c:v>
                </c:pt>
                <c:pt idx="124">
                  <c:v>21.09.21</c:v>
                </c:pt>
                <c:pt idx="125">
                  <c:v>22.09.21</c:v>
                </c:pt>
                <c:pt idx="126">
                  <c:v>23.09.21</c:v>
                </c:pt>
                <c:pt idx="127">
                  <c:v>24.09.21</c:v>
                </c:pt>
                <c:pt idx="128">
                  <c:v>25.09.21</c:v>
                </c:pt>
                <c:pt idx="129">
                  <c:v>26.09.21</c:v>
                </c:pt>
                <c:pt idx="130">
                  <c:v>27.09.21</c:v>
                </c:pt>
                <c:pt idx="131">
                  <c:v>28.09.21</c:v>
                </c:pt>
                <c:pt idx="132">
                  <c:v>29.09.21</c:v>
                </c:pt>
                <c:pt idx="133">
                  <c:v>30.09.21</c:v>
                </c:pt>
                <c:pt idx="134">
                  <c:v>01.10.21</c:v>
                </c:pt>
                <c:pt idx="135">
                  <c:v>02.10.21</c:v>
                </c:pt>
                <c:pt idx="136">
                  <c:v>03.10.21</c:v>
                </c:pt>
                <c:pt idx="137">
                  <c:v>04.10.21</c:v>
                </c:pt>
                <c:pt idx="138">
                  <c:v>05.10.21</c:v>
                </c:pt>
                <c:pt idx="139">
                  <c:v>06.10.21</c:v>
                </c:pt>
                <c:pt idx="140">
                  <c:v>07.10.21</c:v>
                </c:pt>
                <c:pt idx="141">
                  <c:v>08.10.21</c:v>
                </c:pt>
                <c:pt idx="142">
                  <c:v>09.10.21</c:v>
                </c:pt>
                <c:pt idx="143">
                  <c:v>10.10.21</c:v>
                </c:pt>
                <c:pt idx="144">
                  <c:v>11.10.21</c:v>
                </c:pt>
                <c:pt idx="145">
                  <c:v>12.10.21</c:v>
                </c:pt>
                <c:pt idx="146">
                  <c:v>13.10.21</c:v>
                </c:pt>
                <c:pt idx="147">
                  <c:v>14.10.21</c:v>
                </c:pt>
                <c:pt idx="148">
                  <c:v>15.10.21</c:v>
                </c:pt>
                <c:pt idx="149">
                  <c:v>16.10.21</c:v>
                </c:pt>
                <c:pt idx="150">
                  <c:v>17.10.21</c:v>
                </c:pt>
                <c:pt idx="151">
                  <c:v>18.10.21</c:v>
                </c:pt>
                <c:pt idx="152">
                  <c:v>19.10.21</c:v>
                </c:pt>
                <c:pt idx="153">
                  <c:v>20.10.21</c:v>
                </c:pt>
                <c:pt idx="154">
                  <c:v>21.10.21</c:v>
                </c:pt>
                <c:pt idx="155">
                  <c:v>22.10.21</c:v>
                </c:pt>
                <c:pt idx="156">
                  <c:v>23.10.21</c:v>
                </c:pt>
                <c:pt idx="157">
                  <c:v>24.10.21</c:v>
                </c:pt>
                <c:pt idx="158">
                  <c:v>25.10.21</c:v>
                </c:pt>
                <c:pt idx="159">
                  <c:v>26.10.21</c:v>
                </c:pt>
                <c:pt idx="160">
                  <c:v>27.10.21</c:v>
                </c:pt>
                <c:pt idx="161">
                  <c:v>28.10.21</c:v>
                </c:pt>
                <c:pt idx="162">
                  <c:v>29.10.21</c:v>
                </c:pt>
                <c:pt idx="163">
                  <c:v>30.10.21</c:v>
                </c:pt>
                <c:pt idx="164">
                  <c:v>31.10.21</c:v>
                </c:pt>
                <c:pt idx="165">
                  <c:v>01.11.21</c:v>
                </c:pt>
                <c:pt idx="166">
                  <c:v>02.11.21</c:v>
                </c:pt>
                <c:pt idx="167">
                  <c:v>03.11.21</c:v>
                </c:pt>
                <c:pt idx="168">
                  <c:v>04.11.21</c:v>
                </c:pt>
                <c:pt idx="169">
                  <c:v>05.11.21</c:v>
                </c:pt>
                <c:pt idx="170">
                  <c:v>06.11.21</c:v>
                </c:pt>
                <c:pt idx="171">
                  <c:v>07.11.21</c:v>
                </c:pt>
                <c:pt idx="172">
                  <c:v>08.11.21</c:v>
                </c:pt>
                <c:pt idx="173">
                  <c:v>09.11.21</c:v>
                </c:pt>
                <c:pt idx="174">
                  <c:v>10.11.21</c:v>
                </c:pt>
                <c:pt idx="175">
                  <c:v>11.11.21</c:v>
                </c:pt>
                <c:pt idx="176">
                  <c:v>12.11.21</c:v>
                </c:pt>
                <c:pt idx="177">
                  <c:v>13.11.21</c:v>
                </c:pt>
                <c:pt idx="178">
                  <c:v>14.11.21</c:v>
                </c:pt>
                <c:pt idx="179">
                  <c:v>15.11.21</c:v>
                </c:pt>
                <c:pt idx="180">
                  <c:v>16.11.21</c:v>
                </c:pt>
                <c:pt idx="181">
                  <c:v>17.11.21</c:v>
                </c:pt>
                <c:pt idx="182">
                  <c:v>18.11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06</c:v>
                </c:pt>
                <c:pt idx="1">
                  <c:v>96</c:v>
                </c:pt>
                <c:pt idx="2">
                  <c:v>95</c:v>
                </c:pt>
                <c:pt idx="3">
                  <c:v>93</c:v>
                </c:pt>
                <c:pt idx="4">
                  <c:v>85</c:v>
                </c:pt>
                <c:pt idx="5">
                  <c:v>71</c:v>
                </c:pt>
                <c:pt idx="6">
                  <c:v>65</c:v>
                </c:pt>
                <c:pt idx="7">
                  <c:v>56</c:v>
                </c:pt>
                <c:pt idx="8">
                  <c:v>47</c:v>
                </c:pt>
                <c:pt idx="9">
                  <c:v>46</c:v>
                </c:pt>
                <c:pt idx="10">
                  <c:v>46</c:v>
                </c:pt>
                <c:pt idx="11">
                  <c:v>40</c:v>
                </c:pt>
                <c:pt idx="12">
                  <c:v>35</c:v>
                </c:pt>
                <c:pt idx="13">
                  <c:v>30</c:v>
                </c:pt>
                <c:pt idx="14">
                  <c:v>28</c:v>
                </c:pt>
                <c:pt idx="15">
                  <c:v>24</c:v>
                </c:pt>
                <c:pt idx="16">
                  <c:v>25</c:v>
                </c:pt>
                <c:pt idx="17">
                  <c:v>24</c:v>
                </c:pt>
                <c:pt idx="18">
                  <c:v>21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5</c:v>
                </c:pt>
                <c:pt idx="23">
                  <c:v>15</c:v>
                </c:pt>
                <c:pt idx="24">
                  <c:v>15</c:v>
                </c:pt>
                <c:pt idx="25">
                  <c:v>12</c:v>
                </c:pt>
                <c:pt idx="26">
                  <c:v>11</c:v>
                </c:pt>
                <c:pt idx="27">
                  <c:v>12</c:v>
                </c:pt>
                <c:pt idx="28">
                  <c:v>13</c:v>
                </c:pt>
                <c:pt idx="29">
                  <c:v>13</c:v>
                </c:pt>
                <c:pt idx="30">
                  <c:v>11</c:v>
                </c:pt>
                <c:pt idx="31">
                  <c:v>12</c:v>
                </c:pt>
                <c:pt idx="32">
                  <c:v>11</c:v>
                </c:pt>
                <c:pt idx="33">
                  <c:v>9</c:v>
                </c:pt>
                <c:pt idx="34">
                  <c:v>11</c:v>
                </c:pt>
                <c:pt idx="35">
                  <c:v>12</c:v>
                </c:pt>
                <c:pt idx="36">
                  <c:v>11</c:v>
                </c:pt>
                <c:pt idx="37">
                  <c:v>12</c:v>
                </c:pt>
                <c:pt idx="38">
                  <c:v>14</c:v>
                </c:pt>
                <c:pt idx="39">
                  <c:v>14</c:v>
                </c:pt>
                <c:pt idx="40">
                  <c:v>15</c:v>
                </c:pt>
                <c:pt idx="41">
                  <c:v>15</c:v>
                </c:pt>
                <c:pt idx="42">
                  <c:v>14</c:v>
                </c:pt>
                <c:pt idx="43">
                  <c:v>15</c:v>
                </c:pt>
                <c:pt idx="44">
                  <c:v>13</c:v>
                </c:pt>
                <c:pt idx="45">
                  <c:v>13</c:v>
                </c:pt>
                <c:pt idx="46">
                  <c:v>13</c:v>
                </c:pt>
                <c:pt idx="47">
                  <c:v>13</c:v>
                </c:pt>
                <c:pt idx="48">
                  <c:v>13</c:v>
                </c:pt>
                <c:pt idx="49">
                  <c:v>17</c:v>
                </c:pt>
                <c:pt idx="50">
                  <c:v>20</c:v>
                </c:pt>
                <c:pt idx="51">
                  <c:v>19</c:v>
                </c:pt>
                <c:pt idx="52">
                  <c:v>18</c:v>
                </c:pt>
                <c:pt idx="53">
                  <c:v>20</c:v>
                </c:pt>
                <c:pt idx="54">
                  <c:v>20</c:v>
                </c:pt>
                <c:pt idx="55">
                  <c:v>24</c:v>
                </c:pt>
                <c:pt idx="56">
                  <c:v>26</c:v>
                </c:pt>
                <c:pt idx="57">
                  <c:v>30</c:v>
                </c:pt>
                <c:pt idx="58">
                  <c:v>31</c:v>
                </c:pt>
                <c:pt idx="59">
                  <c:v>32</c:v>
                </c:pt>
                <c:pt idx="60">
                  <c:v>34</c:v>
                </c:pt>
                <c:pt idx="61">
                  <c:v>39</c:v>
                </c:pt>
                <c:pt idx="62">
                  <c:v>38</c:v>
                </c:pt>
                <c:pt idx="63">
                  <c:v>37</c:v>
                </c:pt>
                <c:pt idx="64">
                  <c:v>36</c:v>
                </c:pt>
                <c:pt idx="65">
                  <c:v>36</c:v>
                </c:pt>
                <c:pt idx="66">
                  <c:v>36</c:v>
                </c:pt>
                <c:pt idx="67">
                  <c:v>37</c:v>
                </c:pt>
                <c:pt idx="68">
                  <c:v>41</c:v>
                </c:pt>
                <c:pt idx="69">
                  <c:v>38</c:v>
                </c:pt>
                <c:pt idx="70">
                  <c:v>37</c:v>
                </c:pt>
                <c:pt idx="71">
                  <c:v>35</c:v>
                </c:pt>
                <c:pt idx="72">
                  <c:v>35</c:v>
                </c:pt>
                <c:pt idx="73">
                  <c:v>33</c:v>
                </c:pt>
                <c:pt idx="74">
                  <c:v>31</c:v>
                </c:pt>
                <c:pt idx="75">
                  <c:v>33</c:v>
                </c:pt>
                <c:pt idx="76">
                  <c:v>35</c:v>
                </c:pt>
                <c:pt idx="77">
                  <c:v>31</c:v>
                </c:pt>
                <c:pt idx="78">
                  <c:v>32</c:v>
                </c:pt>
                <c:pt idx="79">
                  <c:v>32</c:v>
                </c:pt>
                <c:pt idx="80">
                  <c:v>30</c:v>
                </c:pt>
                <c:pt idx="81">
                  <c:v>33</c:v>
                </c:pt>
                <c:pt idx="82">
                  <c:v>32</c:v>
                </c:pt>
                <c:pt idx="83">
                  <c:v>32</c:v>
                </c:pt>
                <c:pt idx="84">
                  <c:v>31</c:v>
                </c:pt>
                <c:pt idx="85">
                  <c:v>36</c:v>
                </c:pt>
                <c:pt idx="86">
                  <c:v>37</c:v>
                </c:pt>
                <c:pt idx="87">
                  <c:v>37</c:v>
                </c:pt>
                <c:pt idx="88">
                  <c:v>35</c:v>
                </c:pt>
                <c:pt idx="89">
                  <c:v>32</c:v>
                </c:pt>
                <c:pt idx="90">
                  <c:v>31</c:v>
                </c:pt>
                <c:pt idx="91">
                  <c:v>29</c:v>
                </c:pt>
                <c:pt idx="92">
                  <c:v>31</c:v>
                </c:pt>
                <c:pt idx="93">
                  <c:v>32</c:v>
                </c:pt>
                <c:pt idx="94">
                  <c:v>33</c:v>
                </c:pt>
                <c:pt idx="95">
                  <c:v>30</c:v>
                </c:pt>
                <c:pt idx="96">
                  <c:v>31</c:v>
                </c:pt>
                <c:pt idx="97">
                  <c:v>35</c:v>
                </c:pt>
                <c:pt idx="98">
                  <c:v>33</c:v>
                </c:pt>
                <c:pt idx="99">
                  <c:v>32</c:v>
                </c:pt>
                <c:pt idx="100">
                  <c:v>30</c:v>
                </c:pt>
                <c:pt idx="101">
                  <c:v>31</c:v>
                </c:pt>
                <c:pt idx="102">
                  <c:v>29</c:v>
                </c:pt>
                <c:pt idx="103">
                  <c:v>30</c:v>
                </c:pt>
                <c:pt idx="104">
                  <c:v>33</c:v>
                </c:pt>
                <c:pt idx="105">
                  <c:v>37</c:v>
                </c:pt>
                <c:pt idx="106">
                  <c:v>39</c:v>
                </c:pt>
                <c:pt idx="107">
                  <c:v>42</c:v>
                </c:pt>
                <c:pt idx="108">
                  <c:v>41</c:v>
                </c:pt>
                <c:pt idx="109">
                  <c:v>45</c:v>
                </c:pt>
                <c:pt idx="110">
                  <c:v>46</c:v>
                </c:pt>
                <c:pt idx="111">
                  <c:v>43</c:v>
                </c:pt>
                <c:pt idx="112">
                  <c:v>42</c:v>
                </c:pt>
                <c:pt idx="113">
                  <c:v>44</c:v>
                </c:pt>
                <c:pt idx="114">
                  <c:v>43</c:v>
                </c:pt>
                <c:pt idx="115">
                  <c:v>46</c:v>
                </c:pt>
                <c:pt idx="116">
                  <c:v>47</c:v>
                </c:pt>
                <c:pt idx="117">
                  <c:v>46</c:v>
                </c:pt>
                <c:pt idx="118">
                  <c:v>50</c:v>
                </c:pt>
                <c:pt idx="119">
                  <c:v>53</c:v>
                </c:pt>
                <c:pt idx="120">
                  <c:v>51</c:v>
                </c:pt>
                <c:pt idx="121">
                  <c:v>50</c:v>
                </c:pt>
                <c:pt idx="122">
                  <c:v>53</c:v>
                </c:pt>
                <c:pt idx="123">
                  <c:v>54</c:v>
                </c:pt>
                <c:pt idx="124">
                  <c:v>61</c:v>
                </c:pt>
                <c:pt idx="125">
                  <c:v>68</c:v>
                </c:pt>
                <c:pt idx="126">
                  <c:v>70</c:v>
                </c:pt>
                <c:pt idx="127">
                  <c:v>73</c:v>
                </c:pt>
                <c:pt idx="128">
                  <c:v>76</c:v>
                </c:pt>
                <c:pt idx="129">
                  <c:v>75</c:v>
                </c:pt>
                <c:pt idx="130">
                  <c:v>78</c:v>
                </c:pt>
                <c:pt idx="131">
                  <c:v>83</c:v>
                </c:pt>
                <c:pt idx="132">
                  <c:v>84</c:v>
                </c:pt>
                <c:pt idx="133">
                  <c:v>89</c:v>
                </c:pt>
                <c:pt idx="134">
                  <c:v>92</c:v>
                </c:pt>
                <c:pt idx="135">
                  <c:v>94</c:v>
                </c:pt>
                <c:pt idx="136">
                  <c:v>96</c:v>
                </c:pt>
                <c:pt idx="137">
                  <c:v>96</c:v>
                </c:pt>
                <c:pt idx="138">
                  <c:v>98</c:v>
                </c:pt>
                <c:pt idx="139">
                  <c:v>107</c:v>
                </c:pt>
                <c:pt idx="140">
                  <c:v>113</c:v>
                </c:pt>
                <c:pt idx="141">
                  <c:v>118</c:v>
                </c:pt>
                <c:pt idx="142">
                  <c:v>123</c:v>
                </c:pt>
                <c:pt idx="143">
                  <c:v>125</c:v>
                </c:pt>
                <c:pt idx="144">
                  <c:v>134</c:v>
                </c:pt>
                <c:pt idx="145">
                  <c:v>163</c:v>
                </c:pt>
                <c:pt idx="146">
                  <c:v>169</c:v>
                </c:pt>
                <c:pt idx="147">
                  <c:v>178</c:v>
                </c:pt>
                <c:pt idx="148">
                  <c:v>182</c:v>
                </c:pt>
                <c:pt idx="149">
                  <c:v>188</c:v>
                </c:pt>
                <c:pt idx="150">
                  <c:v>192</c:v>
                </c:pt>
                <c:pt idx="151">
                  <c:v>220</c:v>
                </c:pt>
                <c:pt idx="152">
                  <c:v>260</c:v>
                </c:pt>
                <c:pt idx="153">
                  <c:v>297</c:v>
                </c:pt>
                <c:pt idx="154">
                  <c:v>336</c:v>
                </c:pt>
                <c:pt idx="155">
                  <c:v>367</c:v>
                </c:pt>
                <c:pt idx="156">
                  <c:v>390</c:v>
                </c:pt>
                <c:pt idx="157">
                  <c:v>402</c:v>
                </c:pt>
                <c:pt idx="158">
                  <c:v>447</c:v>
                </c:pt>
                <c:pt idx="159">
                  <c:v>500</c:v>
                </c:pt>
                <c:pt idx="160">
                  <c:v>548</c:v>
                </c:pt>
                <c:pt idx="161">
                  <c:v>570</c:v>
                </c:pt>
                <c:pt idx="162">
                  <c:v>634</c:v>
                </c:pt>
                <c:pt idx="163">
                  <c:v>676</c:v>
                </c:pt>
                <c:pt idx="164">
                  <c:v>705</c:v>
                </c:pt>
                <c:pt idx="165">
                  <c:v>774</c:v>
                </c:pt>
                <c:pt idx="166">
                  <c:v>846</c:v>
                </c:pt>
                <c:pt idx="167">
                  <c:v>905</c:v>
                </c:pt>
                <c:pt idx="168">
                  <c:v>956</c:v>
                </c:pt>
                <c:pt idx="169">
                  <c:v>1042</c:v>
                </c:pt>
                <c:pt idx="170">
                  <c:v>1073</c:v>
                </c:pt>
                <c:pt idx="171">
                  <c:v>1075</c:v>
                </c:pt>
                <c:pt idx="172">
                  <c:v>1113</c:v>
                </c:pt>
                <c:pt idx="173">
                  <c:v>1185</c:v>
                </c:pt>
                <c:pt idx="174">
                  <c:v>1259</c:v>
                </c:pt>
                <c:pt idx="175">
                  <c:v>1344</c:v>
                </c:pt>
                <c:pt idx="176">
                  <c:v>1404</c:v>
                </c:pt>
                <c:pt idx="177">
                  <c:v>1452</c:v>
                </c:pt>
                <c:pt idx="178">
                  <c:v>1464</c:v>
                </c:pt>
                <c:pt idx="179">
                  <c:v>1618</c:v>
                </c:pt>
                <c:pt idx="180">
                  <c:v>1790</c:v>
                </c:pt>
                <c:pt idx="181">
                  <c:v>1910</c:v>
                </c:pt>
                <c:pt idx="182">
                  <c:v>2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84</c:f>
              <c:numCache>
                <c:formatCode>m/d/yyyy</c:formatCode>
                <c:ptCount val="15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70</c:v>
                </c:pt>
                <c:pt idx="5">
                  <c:v>44371</c:v>
                </c:pt>
                <c:pt idx="6">
                  <c:v>44373</c:v>
                </c:pt>
                <c:pt idx="7">
                  <c:v>44374</c:v>
                </c:pt>
                <c:pt idx="8">
                  <c:v>44375</c:v>
                </c:pt>
                <c:pt idx="9">
                  <c:v>44376</c:v>
                </c:pt>
                <c:pt idx="10">
                  <c:v>44378</c:v>
                </c:pt>
                <c:pt idx="11">
                  <c:v>44379</c:v>
                </c:pt>
                <c:pt idx="12">
                  <c:v>44381</c:v>
                </c:pt>
                <c:pt idx="13">
                  <c:v>44382</c:v>
                </c:pt>
                <c:pt idx="14">
                  <c:v>44383</c:v>
                </c:pt>
                <c:pt idx="15">
                  <c:v>44384</c:v>
                </c:pt>
                <c:pt idx="16">
                  <c:v>44385</c:v>
                </c:pt>
                <c:pt idx="17">
                  <c:v>44386</c:v>
                </c:pt>
                <c:pt idx="18">
                  <c:v>44387</c:v>
                </c:pt>
                <c:pt idx="19">
                  <c:v>44389</c:v>
                </c:pt>
                <c:pt idx="20">
                  <c:v>44390</c:v>
                </c:pt>
                <c:pt idx="21">
                  <c:v>44391</c:v>
                </c:pt>
                <c:pt idx="22">
                  <c:v>44392</c:v>
                </c:pt>
                <c:pt idx="23">
                  <c:v>44393</c:v>
                </c:pt>
                <c:pt idx="24">
                  <c:v>44394</c:v>
                </c:pt>
                <c:pt idx="25">
                  <c:v>44395</c:v>
                </c:pt>
                <c:pt idx="26">
                  <c:v>44396</c:v>
                </c:pt>
                <c:pt idx="27">
                  <c:v>44397</c:v>
                </c:pt>
                <c:pt idx="28">
                  <c:v>44398</c:v>
                </c:pt>
                <c:pt idx="29">
                  <c:v>44399</c:v>
                </c:pt>
                <c:pt idx="30">
                  <c:v>44400</c:v>
                </c:pt>
                <c:pt idx="31">
                  <c:v>44401</c:v>
                </c:pt>
                <c:pt idx="32">
                  <c:v>44402</c:v>
                </c:pt>
                <c:pt idx="33">
                  <c:v>44403</c:v>
                </c:pt>
                <c:pt idx="34">
                  <c:v>44404</c:v>
                </c:pt>
                <c:pt idx="35">
                  <c:v>44405</c:v>
                </c:pt>
                <c:pt idx="36">
                  <c:v>44406</c:v>
                </c:pt>
                <c:pt idx="37">
                  <c:v>44407</c:v>
                </c:pt>
                <c:pt idx="38">
                  <c:v>44408</c:v>
                </c:pt>
                <c:pt idx="39">
                  <c:v>44409</c:v>
                </c:pt>
                <c:pt idx="40">
                  <c:v>44410</c:v>
                </c:pt>
                <c:pt idx="41">
                  <c:v>44411</c:v>
                </c:pt>
                <c:pt idx="42">
                  <c:v>44412</c:v>
                </c:pt>
                <c:pt idx="43">
                  <c:v>44413</c:v>
                </c:pt>
                <c:pt idx="44">
                  <c:v>44414</c:v>
                </c:pt>
                <c:pt idx="45">
                  <c:v>44415</c:v>
                </c:pt>
                <c:pt idx="46">
                  <c:v>44416</c:v>
                </c:pt>
                <c:pt idx="47">
                  <c:v>44417</c:v>
                </c:pt>
                <c:pt idx="48">
                  <c:v>44418</c:v>
                </c:pt>
                <c:pt idx="49">
                  <c:v>44419</c:v>
                </c:pt>
                <c:pt idx="50">
                  <c:v>44420</c:v>
                </c:pt>
                <c:pt idx="51">
                  <c:v>44421</c:v>
                </c:pt>
                <c:pt idx="52">
                  <c:v>44422</c:v>
                </c:pt>
                <c:pt idx="53">
                  <c:v>44423</c:v>
                </c:pt>
                <c:pt idx="54">
                  <c:v>44424</c:v>
                </c:pt>
                <c:pt idx="55">
                  <c:v>44425</c:v>
                </c:pt>
                <c:pt idx="56">
                  <c:v>44426</c:v>
                </c:pt>
                <c:pt idx="57">
                  <c:v>44427</c:v>
                </c:pt>
                <c:pt idx="58">
                  <c:v>44428</c:v>
                </c:pt>
                <c:pt idx="59">
                  <c:v>44429</c:v>
                </c:pt>
                <c:pt idx="60">
                  <c:v>44430</c:v>
                </c:pt>
                <c:pt idx="61">
                  <c:v>44431</c:v>
                </c:pt>
                <c:pt idx="62">
                  <c:v>44432</c:v>
                </c:pt>
                <c:pt idx="63">
                  <c:v>44433</c:v>
                </c:pt>
                <c:pt idx="64">
                  <c:v>44434</c:v>
                </c:pt>
                <c:pt idx="65">
                  <c:v>44435</c:v>
                </c:pt>
                <c:pt idx="66">
                  <c:v>44436</c:v>
                </c:pt>
                <c:pt idx="67">
                  <c:v>44437</c:v>
                </c:pt>
                <c:pt idx="68">
                  <c:v>44438</c:v>
                </c:pt>
                <c:pt idx="69">
                  <c:v>44439</c:v>
                </c:pt>
                <c:pt idx="70">
                  <c:v>44440</c:v>
                </c:pt>
                <c:pt idx="71">
                  <c:v>44441</c:v>
                </c:pt>
                <c:pt idx="72">
                  <c:v>44442</c:v>
                </c:pt>
                <c:pt idx="73">
                  <c:v>44443</c:v>
                </c:pt>
                <c:pt idx="74">
                  <c:v>44444</c:v>
                </c:pt>
                <c:pt idx="75">
                  <c:v>44445</c:v>
                </c:pt>
                <c:pt idx="76">
                  <c:v>44446</c:v>
                </c:pt>
                <c:pt idx="77">
                  <c:v>44447</c:v>
                </c:pt>
                <c:pt idx="78">
                  <c:v>44448</c:v>
                </c:pt>
                <c:pt idx="79">
                  <c:v>44449</c:v>
                </c:pt>
                <c:pt idx="80">
                  <c:v>44450</c:v>
                </c:pt>
                <c:pt idx="81">
                  <c:v>44451</c:v>
                </c:pt>
                <c:pt idx="82">
                  <c:v>44452</c:v>
                </c:pt>
                <c:pt idx="83">
                  <c:v>44453</c:v>
                </c:pt>
                <c:pt idx="84">
                  <c:v>44454</c:v>
                </c:pt>
                <c:pt idx="85">
                  <c:v>44455</c:v>
                </c:pt>
                <c:pt idx="86">
                  <c:v>44456</c:v>
                </c:pt>
                <c:pt idx="87">
                  <c:v>44457</c:v>
                </c:pt>
                <c:pt idx="88">
                  <c:v>44458</c:v>
                </c:pt>
                <c:pt idx="89">
                  <c:v>44459</c:v>
                </c:pt>
                <c:pt idx="90">
                  <c:v>44460</c:v>
                </c:pt>
                <c:pt idx="91">
                  <c:v>44461</c:v>
                </c:pt>
                <c:pt idx="92">
                  <c:v>44462</c:v>
                </c:pt>
                <c:pt idx="93">
                  <c:v>44463</c:v>
                </c:pt>
                <c:pt idx="94">
                  <c:v>44464</c:v>
                </c:pt>
                <c:pt idx="95">
                  <c:v>44465</c:v>
                </c:pt>
                <c:pt idx="96">
                  <c:v>44466</c:v>
                </c:pt>
                <c:pt idx="97">
                  <c:v>44467</c:v>
                </c:pt>
                <c:pt idx="98">
                  <c:v>44468</c:v>
                </c:pt>
                <c:pt idx="99">
                  <c:v>44469</c:v>
                </c:pt>
                <c:pt idx="100">
                  <c:v>44470</c:v>
                </c:pt>
                <c:pt idx="101">
                  <c:v>44471</c:v>
                </c:pt>
                <c:pt idx="102">
                  <c:v>44472</c:v>
                </c:pt>
                <c:pt idx="103">
                  <c:v>44473</c:v>
                </c:pt>
                <c:pt idx="104">
                  <c:v>44474</c:v>
                </c:pt>
                <c:pt idx="105">
                  <c:v>44475</c:v>
                </c:pt>
                <c:pt idx="106">
                  <c:v>44476</c:v>
                </c:pt>
                <c:pt idx="107">
                  <c:v>44477</c:v>
                </c:pt>
                <c:pt idx="108">
                  <c:v>44478</c:v>
                </c:pt>
                <c:pt idx="109">
                  <c:v>44479</c:v>
                </c:pt>
                <c:pt idx="110">
                  <c:v>44480</c:v>
                </c:pt>
                <c:pt idx="111">
                  <c:v>44481</c:v>
                </c:pt>
                <c:pt idx="112">
                  <c:v>44482</c:v>
                </c:pt>
                <c:pt idx="113">
                  <c:v>44483</c:v>
                </c:pt>
                <c:pt idx="114">
                  <c:v>44484</c:v>
                </c:pt>
                <c:pt idx="115">
                  <c:v>44485</c:v>
                </c:pt>
                <c:pt idx="116">
                  <c:v>44486</c:v>
                </c:pt>
                <c:pt idx="117">
                  <c:v>44487</c:v>
                </c:pt>
                <c:pt idx="118">
                  <c:v>44488</c:v>
                </c:pt>
                <c:pt idx="119">
                  <c:v>44489</c:v>
                </c:pt>
                <c:pt idx="120">
                  <c:v>44490</c:v>
                </c:pt>
                <c:pt idx="121">
                  <c:v>44491</c:v>
                </c:pt>
                <c:pt idx="122">
                  <c:v>44492</c:v>
                </c:pt>
                <c:pt idx="123">
                  <c:v>44493</c:v>
                </c:pt>
                <c:pt idx="124">
                  <c:v>44494</c:v>
                </c:pt>
                <c:pt idx="125">
                  <c:v>44495</c:v>
                </c:pt>
                <c:pt idx="126">
                  <c:v>44496</c:v>
                </c:pt>
                <c:pt idx="127">
                  <c:v>44497</c:v>
                </c:pt>
                <c:pt idx="128">
                  <c:v>44498</c:v>
                </c:pt>
                <c:pt idx="129">
                  <c:v>44499</c:v>
                </c:pt>
                <c:pt idx="130">
                  <c:v>44500</c:v>
                </c:pt>
                <c:pt idx="131">
                  <c:v>44501</c:v>
                </c:pt>
                <c:pt idx="132">
                  <c:v>44502</c:v>
                </c:pt>
                <c:pt idx="133">
                  <c:v>44503</c:v>
                </c:pt>
                <c:pt idx="134">
                  <c:v>44504</c:v>
                </c:pt>
                <c:pt idx="135">
                  <c:v>44505</c:v>
                </c:pt>
                <c:pt idx="136">
                  <c:v>44506</c:v>
                </c:pt>
                <c:pt idx="137">
                  <c:v>44507</c:v>
                </c:pt>
                <c:pt idx="138">
                  <c:v>44508</c:v>
                </c:pt>
                <c:pt idx="139">
                  <c:v>44509</c:v>
                </c:pt>
                <c:pt idx="140">
                  <c:v>44510</c:v>
                </c:pt>
                <c:pt idx="141">
                  <c:v>44511</c:v>
                </c:pt>
                <c:pt idx="142">
                  <c:v>44512</c:v>
                </c:pt>
                <c:pt idx="143">
                  <c:v>44513</c:v>
                </c:pt>
                <c:pt idx="144">
                  <c:v>44514</c:v>
                </c:pt>
                <c:pt idx="145">
                  <c:v>44515</c:v>
                </c:pt>
                <c:pt idx="146">
                  <c:v>44516</c:v>
                </c:pt>
                <c:pt idx="147">
                  <c:v>44517</c:v>
                </c:pt>
                <c:pt idx="148">
                  <c:v>44518</c:v>
                </c:pt>
                <c:pt idx="149">
                  <c:v>44511</c:v>
                </c:pt>
              </c:numCache>
            </c:numRef>
          </c:cat>
          <c:val>
            <c:numRef>
              <c:f>Sheet1!$B$135:$B$284</c:f>
              <c:numCache>
                <c:formatCode>General</c:formatCode>
                <c:ptCount val="150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0</c:v>
                </c:pt>
                <c:pt idx="19">
                  <c:v>2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3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4</c:v>
                </c:pt>
                <c:pt idx="30">
                  <c:v>0</c:v>
                </c:pt>
                <c:pt idx="31">
                  <c:v>0</c:v>
                </c:pt>
                <c:pt idx="32">
                  <c:v>1</c:v>
                </c:pt>
                <c:pt idx="33">
                  <c:v>3</c:v>
                </c:pt>
                <c:pt idx="34">
                  <c:v>1</c:v>
                </c:pt>
                <c:pt idx="35">
                  <c:v>1</c:v>
                </c:pt>
                <c:pt idx="36">
                  <c:v>2</c:v>
                </c:pt>
                <c:pt idx="37">
                  <c:v>2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7</c:v>
                </c:pt>
                <c:pt idx="43">
                  <c:v>1</c:v>
                </c:pt>
                <c:pt idx="44">
                  <c:v>2</c:v>
                </c:pt>
                <c:pt idx="45">
                  <c:v>0</c:v>
                </c:pt>
                <c:pt idx="46">
                  <c:v>3</c:v>
                </c:pt>
                <c:pt idx="47">
                  <c:v>2</c:v>
                </c:pt>
                <c:pt idx="48">
                  <c:v>0</c:v>
                </c:pt>
                <c:pt idx="49">
                  <c:v>4</c:v>
                </c:pt>
                <c:pt idx="50">
                  <c:v>1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3</c:v>
                </c:pt>
                <c:pt idx="55">
                  <c:v>0</c:v>
                </c:pt>
                <c:pt idx="56">
                  <c:v>0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2</c:v>
                </c:pt>
                <c:pt idx="62">
                  <c:v>0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0</c:v>
                </c:pt>
                <c:pt idx="68">
                  <c:v>0</c:v>
                </c:pt>
                <c:pt idx="69">
                  <c:v>4</c:v>
                </c:pt>
                <c:pt idx="70">
                  <c:v>4</c:v>
                </c:pt>
                <c:pt idx="71">
                  <c:v>1</c:v>
                </c:pt>
                <c:pt idx="72">
                  <c:v>1</c:v>
                </c:pt>
                <c:pt idx="73">
                  <c:v>3</c:v>
                </c:pt>
                <c:pt idx="74">
                  <c:v>1</c:v>
                </c:pt>
                <c:pt idx="75">
                  <c:v>0</c:v>
                </c:pt>
                <c:pt idx="76">
                  <c:v>2</c:v>
                </c:pt>
                <c:pt idx="77">
                  <c:v>0</c:v>
                </c:pt>
                <c:pt idx="78">
                  <c:v>0</c:v>
                </c:pt>
                <c:pt idx="79">
                  <c:v>3</c:v>
                </c:pt>
                <c:pt idx="80">
                  <c:v>3</c:v>
                </c:pt>
                <c:pt idx="81">
                  <c:v>0</c:v>
                </c:pt>
                <c:pt idx="82">
                  <c:v>4</c:v>
                </c:pt>
                <c:pt idx="83">
                  <c:v>2</c:v>
                </c:pt>
                <c:pt idx="84">
                  <c:v>0</c:v>
                </c:pt>
                <c:pt idx="85">
                  <c:v>1</c:v>
                </c:pt>
                <c:pt idx="86">
                  <c:v>2</c:v>
                </c:pt>
                <c:pt idx="87">
                  <c:v>1</c:v>
                </c:pt>
                <c:pt idx="88">
                  <c:v>1</c:v>
                </c:pt>
                <c:pt idx="89">
                  <c:v>0</c:v>
                </c:pt>
                <c:pt idx="90">
                  <c:v>3</c:v>
                </c:pt>
                <c:pt idx="91">
                  <c:v>3</c:v>
                </c:pt>
                <c:pt idx="92">
                  <c:v>2</c:v>
                </c:pt>
                <c:pt idx="93">
                  <c:v>3</c:v>
                </c:pt>
                <c:pt idx="94">
                  <c:v>0</c:v>
                </c:pt>
                <c:pt idx="95">
                  <c:v>2</c:v>
                </c:pt>
                <c:pt idx="96">
                  <c:v>6</c:v>
                </c:pt>
                <c:pt idx="97">
                  <c:v>4</c:v>
                </c:pt>
                <c:pt idx="98">
                  <c:v>3</c:v>
                </c:pt>
                <c:pt idx="99">
                  <c:v>9</c:v>
                </c:pt>
                <c:pt idx="100">
                  <c:v>2</c:v>
                </c:pt>
                <c:pt idx="101">
                  <c:v>5</c:v>
                </c:pt>
                <c:pt idx="102">
                  <c:v>1</c:v>
                </c:pt>
                <c:pt idx="103">
                  <c:v>0</c:v>
                </c:pt>
                <c:pt idx="104">
                  <c:v>2</c:v>
                </c:pt>
                <c:pt idx="105">
                  <c:v>5</c:v>
                </c:pt>
                <c:pt idx="106">
                  <c:v>6</c:v>
                </c:pt>
                <c:pt idx="107">
                  <c:v>6</c:v>
                </c:pt>
                <c:pt idx="108">
                  <c:v>1</c:v>
                </c:pt>
                <c:pt idx="109">
                  <c:v>1</c:v>
                </c:pt>
                <c:pt idx="110">
                  <c:v>3</c:v>
                </c:pt>
                <c:pt idx="111">
                  <c:v>10</c:v>
                </c:pt>
                <c:pt idx="112">
                  <c:v>7</c:v>
                </c:pt>
                <c:pt idx="113">
                  <c:v>7</c:v>
                </c:pt>
                <c:pt idx="114">
                  <c:v>6</c:v>
                </c:pt>
                <c:pt idx="115">
                  <c:v>5</c:v>
                </c:pt>
                <c:pt idx="116">
                  <c:v>8</c:v>
                </c:pt>
                <c:pt idx="117">
                  <c:v>17</c:v>
                </c:pt>
                <c:pt idx="118">
                  <c:v>17</c:v>
                </c:pt>
                <c:pt idx="119">
                  <c:v>13</c:v>
                </c:pt>
                <c:pt idx="120">
                  <c:v>13</c:v>
                </c:pt>
                <c:pt idx="121">
                  <c:v>17</c:v>
                </c:pt>
                <c:pt idx="122">
                  <c:v>14</c:v>
                </c:pt>
                <c:pt idx="123">
                  <c:v>12</c:v>
                </c:pt>
                <c:pt idx="124">
                  <c:v>29</c:v>
                </c:pt>
                <c:pt idx="125">
                  <c:v>20</c:v>
                </c:pt>
                <c:pt idx="126">
                  <c:v>23</c:v>
                </c:pt>
                <c:pt idx="127">
                  <c:v>22</c:v>
                </c:pt>
                <c:pt idx="128">
                  <c:v>38</c:v>
                </c:pt>
                <c:pt idx="129">
                  <c:v>22</c:v>
                </c:pt>
                <c:pt idx="130">
                  <c:v>18</c:v>
                </c:pt>
                <c:pt idx="131">
                  <c:v>57</c:v>
                </c:pt>
                <c:pt idx="132">
                  <c:v>38</c:v>
                </c:pt>
                <c:pt idx="133">
                  <c:v>39</c:v>
                </c:pt>
                <c:pt idx="134">
                  <c:v>27</c:v>
                </c:pt>
                <c:pt idx="135">
                  <c:v>40</c:v>
                </c:pt>
                <c:pt idx="136">
                  <c:v>21</c:v>
                </c:pt>
                <c:pt idx="137">
                  <c:v>19</c:v>
                </c:pt>
                <c:pt idx="138">
                  <c:v>53</c:v>
                </c:pt>
                <c:pt idx="139">
                  <c:v>46</c:v>
                </c:pt>
                <c:pt idx="140">
                  <c:v>48</c:v>
                </c:pt>
                <c:pt idx="141">
                  <c:v>48</c:v>
                </c:pt>
                <c:pt idx="142">
                  <c:v>44</c:v>
                </c:pt>
                <c:pt idx="143">
                  <c:v>50</c:v>
                </c:pt>
                <c:pt idx="144">
                  <c:v>23</c:v>
                </c:pt>
                <c:pt idx="145">
                  <c:v>64</c:v>
                </c:pt>
                <c:pt idx="146">
                  <c:v>61</c:v>
                </c:pt>
                <c:pt idx="147">
                  <c:v>39</c:v>
                </c:pt>
                <c:pt idx="148">
                  <c:v>51</c:v>
                </c:pt>
                <c:pt idx="149">
                  <c:v>116.48977478643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9985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9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11.xml"/><Relationship Id="rId4" Type="http://schemas.openxmlformats.org/officeDocument/2006/relationships/tags" Target="../tags/tag14.xml"/><Relationship Id="rId9" Type="http://schemas.openxmlformats.org/officeDocument/2006/relationships/notesSlide" Target="../notesSlides/notesSlide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13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1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chart" Target="../charts/chart15.xml"/><Relationship Id="rId4" Type="http://schemas.openxmlformats.org/officeDocument/2006/relationships/tags" Target="../tags/tag32.xml"/><Relationship Id="rId9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8.xml"/><Relationship Id="rId7" Type="http://schemas.openxmlformats.org/officeDocument/2006/relationships/image" Target="../media/image15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chart" Target="../charts/chart1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s/_rels/slide3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5.xml"/><Relationship Id="rId7" Type="http://schemas.openxmlformats.org/officeDocument/2006/relationships/image" Target="../media/image15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chart" Target="../charts/chart1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s/_rels/slide3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2.xml"/><Relationship Id="rId7" Type="http://schemas.openxmlformats.org/officeDocument/2006/relationships/image" Target="../media/image15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chart" Target="../charts/char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s/_rels/slide3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9.xml"/><Relationship Id="rId7" Type="http://schemas.openxmlformats.org/officeDocument/2006/relationships/image" Target="../media/image15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chart" Target="../charts/char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chart" Target="../charts/char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7 % a sestry 81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/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/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7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/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/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0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18. 11. 2021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79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10 / 2021 k 18. 11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8. 11. 2021</a:t>
            </a:r>
          </a:p>
        </p:txBody>
      </p:sp>
    </p:spTree>
    <p:extLst>
      <p:ext uri="{BB962C8B-B14F-4D97-AF65-F5344CB8AC3E}">
        <p14:creationId xmlns:p14="http://schemas.microsoft.com/office/powerpoint/2010/main" val="1645142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-11 / 2021 k 18. 11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8. 11. 2021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8. 11. 2021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13000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1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400FFB0B-0918-4B92-962A-741382ED1E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2854749"/>
              </p:ext>
            </p:extLst>
          </p:nvPr>
        </p:nvGraphicFramePr>
        <p:xfrm>
          <a:off x="1943099" y="1448593"/>
          <a:ext cx="9946013" cy="4689135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316881434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049391929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27684476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94763762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80971276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99184761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904224048"/>
                    </a:ext>
                  </a:extLst>
                </a:gridCol>
              </a:tblGrid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9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A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5B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2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CC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A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F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63242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CA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0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6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DD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B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68677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B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1A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4B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5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B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4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321176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D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9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5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7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A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6425606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2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F9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6A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E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CA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0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5352993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0C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3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2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DB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3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F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6712680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E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88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CA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7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CC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6741242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9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BA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BA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4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7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8848843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B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58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59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5B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58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69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0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954062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D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B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5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0A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312093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D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B9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BA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CA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9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B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060186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1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48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8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7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F9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2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3582910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2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7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1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19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48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51896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8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FA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9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E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EA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418288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FA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0B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DC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8A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8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A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2810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8. 11. 2021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8635828"/>
              </p:ext>
            </p:extLst>
          </p:nvPr>
        </p:nvGraphicFramePr>
        <p:xfrm>
          <a:off x="302889" y="921878"/>
          <a:ext cx="11586222" cy="5215857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499992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6522" marT="6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50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9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2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 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6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3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 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8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 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 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 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7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8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54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9 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 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 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 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4 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9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 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 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6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83 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4 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445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17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11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37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50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429434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1EA556FE-4F98-4837-A82C-031AF2033C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1674538"/>
              </p:ext>
            </p:extLst>
          </p:nvPr>
        </p:nvGraphicFramePr>
        <p:xfrm>
          <a:off x="2633357" y="1286668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332003589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8082050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42496188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73921147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79679462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13267096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60105304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67881481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60165585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08978004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97940160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94325375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99763161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58866117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72225943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881810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52778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C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268417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2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306814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636875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5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32879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64786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276672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73924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96358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026534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89805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6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B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43358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8. 11. 2021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4391104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B04B5166-FEC9-4E7F-A5CA-BF2BE5A234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799110"/>
              </p:ext>
            </p:extLst>
          </p:nvPr>
        </p:nvGraphicFramePr>
        <p:xfrm>
          <a:off x="2633357" y="1286668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214685953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80784055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98218906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31475911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75226544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10227157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12115557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03705533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35249440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13110349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34676688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41802181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95829466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12739590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80842726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70718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063293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7163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453326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94928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26283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161773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668977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217929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48721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27550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81251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45714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3994171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4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4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5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8. 11. 2021 </a:t>
            </a:r>
          </a:p>
        </p:txBody>
      </p:sp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654C41CA-C428-4F65-BDE5-20EE1003AE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7883581"/>
              </p:ext>
            </p:extLst>
          </p:nvPr>
        </p:nvGraphicFramePr>
        <p:xfrm>
          <a:off x="2633357" y="1286669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362150292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20832309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7289482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26467720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18782045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21408320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97134021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43348418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80902970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83754248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74627920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72824372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7787443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89519005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876982619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963686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807083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0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943364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28146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B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856212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08211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812690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019914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820205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678325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18199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349330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2847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767239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4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7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4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49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8. 11. 2021 </a:t>
            </a:r>
          </a:p>
        </p:txBody>
      </p:sp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8. 11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1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9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6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0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4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5 (4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6 (14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6 (13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 (3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17023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15330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19976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92063" y="2212046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2614330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8. 11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5154086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46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9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0.–21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0.–28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0.–4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1.–11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1.–18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1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4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0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83986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20604226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6402FBAB-1696-47CF-97B3-031F1C769EF3}"/>
              </a:ext>
            </a:extLst>
          </p:cNvPr>
          <p:cNvCxnSpPr>
            <a:cxnSpLocks/>
          </p:cNvCxnSpPr>
          <p:nvPr/>
        </p:nvCxnSpPr>
        <p:spPr>
          <a:xfrm flipV="1">
            <a:off x="9700181" y="3271101"/>
            <a:ext cx="1781666" cy="1423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0.–21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0.–28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0.–4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1.–11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1.–18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7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0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7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0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03449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8682F60F-46D8-48C4-9BAF-DC595C3B4A5C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976072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6402FBAB-1696-47CF-97B3-031F1C769EF3}"/>
              </a:ext>
            </a:extLst>
          </p:cNvPr>
          <p:cNvCxnSpPr>
            <a:cxnSpLocks/>
          </p:cNvCxnSpPr>
          <p:nvPr/>
        </p:nvCxnSpPr>
        <p:spPr>
          <a:xfrm flipV="1">
            <a:off x="9700181" y="3271101"/>
            <a:ext cx="1781666" cy="1423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0.–21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0.–28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0.–4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1.–11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1.–18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7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0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7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0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91874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77767C90-51A5-48DE-BF7F-14E45D3CD23E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926733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6402FBAB-1696-47CF-97B3-031F1C769EF3}"/>
              </a:ext>
            </a:extLst>
          </p:cNvPr>
          <p:cNvCxnSpPr>
            <a:cxnSpLocks/>
          </p:cNvCxnSpPr>
          <p:nvPr/>
        </p:nvCxnSpPr>
        <p:spPr>
          <a:xfrm flipV="1">
            <a:off x="9700181" y="3271101"/>
            <a:ext cx="1781666" cy="1423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0.–21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0.–28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0.–4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1.–11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1.–18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1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9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3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45503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22440" y="104660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7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9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54864" y="2902204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22440" y="3696653"/>
            <a:ext cx="1118940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rvní poloviny listopadu mírně vzrostla, a to ve všech profesních skupinách. Celková proočkovanost ZP dosáhla 81,4% (jen ZP skutečně aktivní ve zdravotnictví)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070096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4497DA4-E3B4-480D-954A-9C23EE435EB6}"/>
              </a:ext>
            </a:extLst>
          </p:cNvPr>
          <p:cNvGraphicFramePr>
            <a:graphicFrameLocks noGrp="1"/>
          </p:cNvGraphicFramePr>
          <p:nvPr/>
        </p:nvGraphicFramePr>
        <p:xfrm>
          <a:off x="2343149" y="2271816"/>
          <a:ext cx="9275460" cy="3610200"/>
        </p:xfrm>
        <a:graphic>
          <a:graphicData uri="http://schemas.openxmlformats.org/drawingml/2006/table">
            <a:tbl>
              <a:tblPr/>
              <a:tblGrid>
                <a:gridCol w="772955">
                  <a:extLst>
                    <a:ext uri="{9D8B030D-6E8A-4147-A177-3AD203B41FA5}">
                      <a16:colId xmlns:a16="http://schemas.microsoft.com/office/drawing/2014/main" val="1822085852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709796412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347362937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937428169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228608405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508510458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551087965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634454466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645263585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256339840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4265086345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244830011"/>
                    </a:ext>
                  </a:extLst>
                </a:gridCol>
              </a:tblGrid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3145281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2348430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629393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9343895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5592070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615392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868800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9830111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1265166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771502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6683027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9396567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5130724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7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B6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054259"/>
                  </a:ext>
                </a:extLst>
              </a:tr>
              <a:tr h="240680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2175329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8. 11. 2021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9BB6CFF-3BB2-4906-A8ED-EE1366AD60F1}"/>
              </a:ext>
            </a:extLst>
          </p:cNvPr>
          <p:cNvGraphicFramePr>
            <a:graphicFrameLocks noGrp="1"/>
          </p:cNvGraphicFramePr>
          <p:nvPr/>
        </p:nvGraphicFramePr>
        <p:xfrm>
          <a:off x="3777712" y="1999780"/>
          <a:ext cx="7357456" cy="3993135"/>
        </p:xfrm>
        <a:graphic>
          <a:graphicData uri="http://schemas.openxmlformats.org/drawingml/2006/table">
            <a:tbl>
              <a:tblPr/>
              <a:tblGrid>
                <a:gridCol w="1839364">
                  <a:extLst>
                    <a:ext uri="{9D8B030D-6E8A-4147-A177-3AD203B41FA5}">
                      <a16:colId xmlns:a16="http://schemas.microsoft.com/office/drawing/2014/main" val="3876379385"/>
                    </a:ext>
                  </a:extLst>
                </a:gridCol>
                <a:gridCol w="1839364">
                  <a:extLst>
                    <a:ext uri="{9D8B030D-6E8A-4147-A177-3AD203B41FA5}">
                      <a16:colId xmlns:a16="http://schemas.microsoft.com/office/drawing/2014/main" val="52988583"/>
                    </a:ext>
                  </a:extLst>
                </a:gridCol>
                <a:gridCol w="1839364">
                  <a:extLst>
                    <a:ext uri="{9D8B030D-6E8A-4147-A177-3AD203B41FA5}">
                      <a16:colId xmlns:a16="http://schemas.microsoft.com/office/drawing/2014/main" val="1832994266"/>
                    </a:ext>
                  </a:extLst>
                </a:gridCol>
                <a:gridCol w="1839364">
                  <a:extLst>
                    <a:ext uri="{9D8B030D-6E8A-4147-A177-3AD203B41FA5}">
                      <a16:colId xmlns:a16="http://schemas.microsoft.com/office/drawing/2014/main" val="3406779317"/>
                    </a:ext>
                  </a:extLst>
                </a:gridCol>
              </a:tblGrid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699949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7612452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9324273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1985721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0126713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0318188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425807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140808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0223271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3649247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E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415605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576549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381049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0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04613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3935161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0 / 2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83 / 7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46 / 3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 (159 / 12 / 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7 / 4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8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18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53 / 6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5 / 6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33 / 4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(28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(76 / 10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9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8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1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48 / 4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5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6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6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0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42 / 4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6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9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0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5 / 2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6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5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(52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6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0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4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40 / 4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7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0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5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(52 / 4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2 / 4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(89 / 7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58 / -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169 / 11 / 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5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43 / 6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20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8 / 9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5 / 5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33 / 5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17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55 / 10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4 / 8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81 / 2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 (49 / -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 (154 / 29 / 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158 / 36 / 4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1 (509 / 66 / 3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1 (341 / 5 / 3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8 (1008 / 107 / 1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12. 11. – 18. 11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060071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lékař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62595" y="1110693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ékaři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82641AFC-1605-4F41-BF39-23E7E7AF4C2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1A3D9250-7EC2-4676-817D-7FBAAB380E9C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0182940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lékaři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626914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kařů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10F4A238-310C-43D5-9DDD-97D20F84F44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8160834"/>
              </p:ext>
            </p:extLst>
          </p:nvPr>
        </p:nvGraphicFramePr>
        <p:xfrm>
          <a:off x="1777230" y="533334"/>
          <a:ext cx="9468550" cy="3982614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8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7690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2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3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4E5136DD-EA08-44B4-9244-D47999FE566C}"/>
              </a:ext>
            </a:extLst>
          </p:cNvPr>
          <p:cNvSpPr txBox="1"/>
          <p:nvPr/>
        </p:nvSpPr>
        <p:spPr>
          <a:xfrm>
            <a:off x="1671371" y="4569204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8. 11. 2021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B5B0BB0-5406-461D-A320-1D46AFD62DAA}"/>
              </a:ext>
            </a:extLst>
          </p:cNvPr>
          <p:cNvSpPr txBox="1"/>
          <p:nvPr/>
        </p:nvSpPr>
        <p:spPr>
          <a:xfrm>
            <a:off x="262533" y="5010468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0000FF"/>
                </a:solidFill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lang="en-US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41157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691878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sester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64955" y="121546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try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D86CEB2-6B62-4921-BB74-B46CF4D5A22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5ADEC061-A734-46D3-B5C1-3033EABD25B6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00577198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sestry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350326" y="56130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sester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FAFEA63F-04FB-40D6-90F8-9B8C35D88AED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655503"/>
              </p:ext>
            </p:extLst>
          </p:nvPr>
        </p:nvGraphicFramePr>
        <p:xfrm>
          <a:off x="1417014" y="561308"/>
          <a:ext cx="9468550" cy="3982614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456686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7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8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0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A1BE29D4-5059-46A8-8336-40CC2C52E68C}"/>
              </a:ext>
            </a:extLst>
          </p:cNvPr>
          <p:cNvSpPr txBox="1"/>
          <p:nvPr/>
        </p:nvSpPr>
        <p:spPr>
          <a:xfrm>
            <a:off x="1417014" y="4517209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8. 11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4D16114-8A1C-47F6-83C5-8DA746CAC7CE}"/>
              </a:ext>
            </a:extLst>
          </p:cNvPr>
          <p:cNvSpPr txBox="1"/>
          <p:nvPr/>
        </p:nvSpPr>
        <p:spPr>
          <a:xfrm>
            <a:off x="262533" y="5010468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0000FF"/>
                </a:solidFill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lang="en-US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0675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232925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: populace ostatních ZP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444630" y="127261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ZP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8602B0B-CEB9-4E9D-8C0C-ACF8FD6CEBD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10F7BA8F-974B-4E1E-94BE-FF354A65541C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8673193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ostatní ZP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479634" y="673357"/>
            <a:ext cx="43325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ostatních ZP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EB02C89D-4557-42AD-AF89-7DAB06F8F618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046671"/>
              </p:ext>
            </p:extLst>
          </p:nvPr>
        </p:nvGraphicFramePr>
        <p:xfrm>
          <a:off x="1666394" y="673357"/>
          <a:ext cx="9468550" cy="3982614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7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525693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0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0" name="TextBox 6">
            <a:extLst>
              <a:ext uri="{FF2B5EF4-FFF2-40B4-BE49-F238E27FC236}">
                <a16:creationId xmlns:a16="http://schemas.microsoft.com/office/drawing/2014/main" id="{53D98EF4-F012-4FF8-820F-951E602B41D7}"/>
              </a:ext>
            </a:extLst>
          </p:cNvPr>
          <p:cNvSpPr txBox="1"/>
          <p:nvPr/>
        </p:nvSpPr>
        <p:spPr>
          <a:xfrm>
            <a:off x="1598696" y="4655971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8. 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C4C7860-74B9-47D2-87FF-FCD709F5F14C}"/>
              </a:ext>
            </a:extLst>
          </p:cNvPr>
          <p:cNvSpPr txBox="1"/>
          <p:nvPr/>
        </p:nvSpPr>
        <p:spPr>
          <a:xfrm>
            <a:off x="262533" y="5038176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0000FF"/>
                </a:solidFill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lang="en-US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869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888805" y="1376200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1F87F473-CBAF-415A-B69A-D06AAEB5FED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4BE1E5C9-F27C-47F3-9823-09CFE4D31CC8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0560867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948904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4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3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8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7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3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4 7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8. 11. 2021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77112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A65F9ACD-3961-458D-951B-62BFB867A8B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630626"/>
              </p:ext>
            </p:extLst>
          </p:nvPr>
        </p:nvGraphicFramePr>
        <p:xfrm>
          <a:off x="1666394" y="771128"/>
          <a:ext cx="9468550" cy="3982614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0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6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9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E62E2B61-6665-4653-AF65-AA7DB242ABA7}"/>
              </a:ext>
            </a:extLst>
          </p:cNvPr>
          <p:cNvSpPr txBox="1"/>
          <p:nvPr/>
        </p:nvSpPr>
        <p:spPr>
          <a:xfrm>
            <a:off x="1666394" y="4750733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8. 11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07B7F61-2FDD-429A-A54E-2F0F9482D1BE}"/>
              </a:ext>
            </a:extLst>
          </p:cNvPr>
          <p:cNvSpPr txBox="1"/>
          <p:nvPr/>
        </p:nvSpPr>
        <p:spPr>
          <a:xfrm>
            <a:off x="262533" y="5010468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0000FF"/>
                </a:solidFill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lang="en-US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93715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8. 11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 zařízeních sociálních služeb </a:t>
            </a:r>
            <a:br>
              <a:rPr lang="cs-CZ" dirty="0"/>
            </a:br>
            <a:r>
              <a:rPr lang="cs-CZ" dirty="0"/>
              <a:t>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418743" y="1222049"/>
          <a:ext cx="8511611" cy="5345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9162962" y="1301496"/>
          <a:ext cx="2326326" cy="4971720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153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7" name="TextovéPole 8">
            <a:extLst>
              <a:ext uri="{FF2B5EF4-FFF2-40B4-BE49-F238E27FC236}">
                <a16:creationId xmlns:a16="http://schemas.microsoft.com/office/drawing/2014/main" id="{FDEE6DA7-8A32-4466-8C48-3BA05FF3131A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</p:spTree>
    <p:extLst>
      <p:ext uri="{BB962C8B-B14F-4D97-AF65-F5344CB8AC3E}">
        <p14:creationId xmlns:p14="http://schemas.microsoft.com/office/powerpoint/2010/main" val="24875770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8. 11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651360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1496291" y="6211667"/>
            <a:ext cx="105730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55608988-FFDF-4500-A7BA-71BB7DDEE99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30189" y="1037794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924076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8. 11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6421632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1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3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7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9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7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0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8 5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 3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8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3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4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33979540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18. 11. 2021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4567601D-A50C-4550-904F-A1C3633503D3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 5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7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9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6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</p:spTree>
    <p:extLst>
      <p:ext uri="{BB962C8B-B14F-4D97-AF65-F5344CB8AC3E}">
        <p14:creationId xmlns:p14="http://schemas.microsoft.com/office/powerpoint/2010/main" val="97488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8. 11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9674823"/>
              </p:ext>
            </p:extLst>
          </p:nvPr>
        </p:nvGraphicFramePr>
        <p:xfrm>
          <a:off x="337534" y="1200434"/>
          <a:ext cx="11254101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342442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9087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327760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327760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327760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327760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327760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1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377 (8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393 (43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4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3 (2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87 (10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7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917 (81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640 (2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4 (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17 (7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67 (11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7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023 (78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727 (2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8 (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60 (6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41 (14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24 (7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0 (2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 (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0 (6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8 (16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23 (77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0 (1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(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 (9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5 (13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169 (79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70 (23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 (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9 (7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94 (13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5 (84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9 (34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(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(4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0 (10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11 (73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7 (1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 (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3 (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8 (18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99 (8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6 (24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 (1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5 (6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6 (13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20 (78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4 (22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 (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5 (6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4 (15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8 5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 317 (81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1 760 (28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 136 (1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 850 (6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 395 (12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8. 11. 2021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/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/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4 7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1 7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5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3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5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48 5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517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96</TotalTime>
  <Words>10017</Words>
  <Application>Microsoft Office PowerPoint</Application>
  <PresentationFormat>Širokoúhlá obrazovka</PresentationFormat>
  <Paragraphs>2187</Paragraphs>
  <Slides>44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44</vt:i4>
      </vt:variant>
    </vt:vector>
  </HeadingPairs>
  <TitlesOfParts>
    <vt:vector size="50" baseType="lpstr">
      <vt:lpstr>Calibri</vt:lpstr>
      <vt:lpstr>Arial</vt:lpstr>
      <vt:lpstr>Calibri Light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10 / 2021 k 18. 11.</vt:lpstr>
      <vt:lpstr>Přehled povolání u COVID-19 pozitivních ostatních zdravotnických pracovníků za období 10-11 / 2021 k 18. 11.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lékařů</vt:lpstr>
      <vt:lpstr>Prezentace aplikace PowerPoint</vt:lpstr>
      <vt:lpstr>Počet nových případů COVID-19 na 100 tis. dané kategorie v populaci sester</vt:lpstr>
      <vt:lpstr>Prezentace aplikace PowerPoint</vt:lpstr>
      <vt:lpstr>Počet nových případů COVID-19 na 100 tis. dané kategorie: populace ostatních ZP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pracovníků v zařízeních sociálních služeb  s nákazou COVID-19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778</cp:revision>
  <dcterms:created xsi:type="dcterms:W3CDTF">2020-11-11T17:36:28Z</dcterms:created>
  <dcterms:modified xsi:type="dcterms:W3CDTF">2021-11-21T18:01:37Z</dcterms:modified>
</cp:coreProperties>
</file>